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xls" ContentType="application/vnd.ms-excel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4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Layouts/slideLayout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9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heme/theme2.xml" ContentType="application/vnd.openxmlformats-officedocument.theme+xml"/>
  <Override PartName="/ppt/theme/theme1.xml" ContentType="application/vnd.openxmlformats-officedocument.theme+xml"/>
  <Override PartName="/ppt/charts/chart11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12.xml" ContentType="application/vnd.openxmlformats-officedocument.drawingml.chart+xml"/>
  <Override PartName="/ppt/charts/chart7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8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5269" r:id="rId2"/>
    <p:sldMasterId id="2147493730" r:id="rId3"/>
    <p:sldMasterId id="2147493748" r:id="rId4"/>
  </p:sldMasterIdLst>
  <p:notesMasterIdLst>
    <p:notesMasterId r:id="rId20"/>
  </p:notesMasterIdLst>
  <p:handoutMasterIdLst>
    <p:handoutMasterId r:id="rId21"/>
  </p:handoutMasterIdLst>
  <p:sldIdLst>
    <p:sldId id="536" r:id="rId5"/>
    <p:sldId id="2688" r:id="rId6"/>
    <p:sldId id="2690" r:id="rId7"/>
    <p:sldId id="2650" r:id="rId8"/>
    <p:sldId id="2707" r:id="rId9"/>
    <p:sldId id="2693" r:id="rId10"/>
    <p:sldId id="2679" r:id="rId11"/>
    <p:sldId id="2694" r:id="rId12"/>
    <p:sldId id="2695" r:id="rId13"/>
    <p:sldId id="2696" r:id="rId14"/>
    <p:sldId id="2697" r:id="rId15"/>
    <p:sldId id="2698" r:id="rId16"/>
    <p:sldId id="2699" r:id="rId17"/>
    <p:sldId id="2706" r:id="rId18"/>
    <p:sldId id="2678" r:id="rId19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64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9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941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8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2345" algn="l" defTabSz="91293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38813" algn="l" defTabSz="91293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5285" algn="l" defTabSz="91293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1750" algn="l" defTabSz="91293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C000"/>
    <a:srgbClr val="FFB300"/>
    <a:srgbClr val="A0FE22"/>
    <a:srgbClr val="FFAB2F"/>
    <a:srgbClr val="FFFF66"/>
    <a:srgbClr val="FFE2A7"/>
    <a:srgbClr val="FF6969"/>
    <a:srgbClr val="FCB6D9"/>
    <a:srgbClr val="FCA6D1"/>
    <a:srgbClr val="FFD47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147" autoAdjust="0"/>
    <p:restoredTop sz="94249" autoAdjust="0"/>
  </p:normalViewPr>
  <p:slideViewPr>
    <p:cSldViewPr>
      <p:cViewPr varScale="1">
        <p:scale>
          <a:sx n="70" d="100"/>
          <a:sy n="70" d="100"/>
        </p:scale>
        <p:origin x="-53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Feuille_Microsoft_Office_Excel1.xlsx"/><Relationship Id="rId1" Type="http://schemas.openxmlformats.org/officeDocument/2006/relationships/themeOverride" Target="../theme/themeOverride1.xml"/><Relationship Id="rId5" Type="http://schemas.microsoft.com/office/2011/relationships/chartStyle" Target="style1.xml"/><Relationship Id="rId4" Type="http://schemas.microsoft.com/office/2011/relationships/chartColorStyle" Target="colors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B00732790\AppData\Local\Microsoft\Windows\Temporary%20Internet%20Files\Content.Outlook\R1N5WOEJ\NETWORK%20AVAILABILITY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Reports\Drive%20Test\H2%202015\TEMPLATE_september%20201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i="0" baseline="0">
                <a:effectLst/>
              </a:rPr>
              <a:t>L'IHS-MTN La disponibilité du réseau</a:t>
            </a:r>
            <a:endParaRPr lang="en-GB">
              <a:effectLst/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Network-Day'!$C$1</c:f>
              <c:strCache>
                <c:ptCount val="1"/>
                <c:pt idx="0">
                  <c:v>Disponibilité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Network-Day'!$B$2:$B$705</c:f>
              <c:numCache>
                <c:formatCode>dd/mm/yyyy</c:formatCode>
                <c:ptCount val="704"/>
                <c:pt idx="0">
                  <c:v>41640</c:v>
                </c:pt>
                <c:pt idx="1">
                  <c:v>41641</c:v>
                </c:pt>
                <c:pt idx="2">
                  <c:v>41642</c:v>
                </c:pt>
                <c:pt idx="3">
                  <c:v>41643</c:v>
                </c:pt>
                <c:pt idx="4">
                  <c:v>41644</c:v>
                </c:pt>
                <c:pt idx="5">
                  <c:v>41645</c:v>
                </c:pt>
                <c:pt idx="6">
                  <c:v>41646</c:v>
                </c:pt>
                <c:pt idx="7">
                  <c:v>41647</c:v>
                </c:pt>
                <c:pt idx="8">
                  <c:v>41648</c:v>
                </c:pt>
                <c:pt idx="9">
                  <c:v>41649</c:v>
                </c:pt>
                <c:pt idx="10">
                  <c:v>41650</c:v>
                </c:pt>
                <c:pt idx="11">
                  <c:v>41651</c:v>
                </c:pt>
                <c:pt idx="12">
                  <c:v>41652</c:v>
                </c:pt>
                <c:pt idx="13">
                  <c:v>41653</c:v>
                </c:pt>
                <c:pt idx="14">
                  <c:v>41654</c:v>
                </c:pt>
                <c:pt idx="15">
                  <c:v>41655</c:v>
                </c:pt>
                <c:pt idx="16">
                  <c:v>41656</c:v>
                </c:pt>
                <c:pt idx="17">
                  <c:v>41657</c:v>
                </c:pt>
                <c:pt idx="18">
                  <c:v>41658</c:v>
                </c:pt>
                <c:pt idx="19">
                  <c:v>41659</c:v>
                </c:pt>
                <c:pt idx="20">
                  <c:v>41660</c:v>
                </c:pt>
                <c:pt idx="21">
                  <c:v>41661</c:v>
                </c:pt>
                <c:pt idx="22">
                  <c:v>41662</c:v>
                </c:pt>
                <c:pt idx="23">
                  <c:v>41663</c:v>
                </c:pt>
                <c:pt idx="24">
                  <c:v>41664</c:v>
                </c:pt>
                <c:pt idx="25">
                  <c:v>41665</c:v>
                </c:pt>
                <c:pt idx="26">
                  <c:v>41666</c:v>
                </c:pt>
                <c:pt idx="27">
                  <c:v>41667</c:v>
                </c:pt>
                <c:pt idx="28">
                  <c:v>41668</c:v>
                </c:pt>
                <c:pt idx="29">
                  <c:v>41669</c:v>
                </c:pt>
                <c:pt idx="30">
                  <c:v>41670</c:v>
                </c:pt>
                <c:pt idx="31">
                  <c:v>41671</c:v>
                </c:pt>
                <c:pt idx="32">
                  <c:v>41672</c:v>
                </c:pt>
                <c:pt idx="33">
                  <c:v>41673</c:v>
                </c:pt>
                <c:pt idx="34">
                  <c:v>41674</c:v>
                </c:pt>
                <c:pt idx="35">
                  <c:v>41675</c:v>
                </c:pt>
                <c:pt idx="36">
                  <c:v>41676</c:v>
                </c:pt>
                <c:pt idx="37">
                  <c:v>41677</c:v>
                </c:pt>
                <c:pt idx="38">
                  <c:v>41678</c:v>
                </c:pt>
                <c:pt idx="39">
                  <c:v>41679</c:v>
                </c:pt>
                <c:pt idx="40">
                  <c:v>41680</c:v>
                </c:pt>
                <c:pt idx="41">
                  <c:v>41681</c:v>
                </c:pt>
                <c:pt idx="42">
                  <c:v>41682</c:v>
                </c:pt>
                <c:pt idx="43">
                  <c:v>41683</c:v>
                </c:pt>
                <c:pt idx="44">
                  <c:v>41684</c:v>
                </c:pt>
                <c:pt idx="45">
                  <c:v>41685</c:v>
                </c:pt>
                <c:pt idx="46">
                  <c:v>41686</c:v>
                </c:pt>
                <c:pt idx="47">
                  <c:v>41687</c:v>
                </c:pt>
                <c:pt idx="48">
                  <c:v>41688</c:v>
                </c:pt>
                <c:pt idx="49">
                  <c:v>41689</c:v>
                </c:pt>
                <c:pt idx="50">
                  <c:v>41690</c:v>
                </c:pt>
                <c:pt idx="51">
                  <c:v>41691</c:v>
                </c:pt>
                <c:pt idx="52">
                  <c:v>41692</c:v>
                </c:pt>
                <c:pt idx="53">
                  <c:v>41693</c:v>
                </c:pt>
                <c:pt idx="54">
                  <c:v>41694</c:v>
                </c:pt>
                <c:pt idx="55">
                  <c:v>41695</c:v>
                </c:pt>
                <c:pt idx="56">
                  <c:v>41696</c:v>
                </c:pt>
                <c:pt idx="57">
                  <c:v>41697</c:v>
                </c:pt>
                <c:pt idx="58">
                  <c:v>41698</c:v>
                </c:pt>
                <c:pt idx="59">
                  <c:v>41699</c:v>
                </c:pt>
                <c:pt idx="60">
                  <c:v>41700</c:v>
                </c:pt>
                <c:pt idx="61">
                  <c:v>41701</c:v>
                </c:pt>
                <c:pt idx="62">
                  <c:v>41702</c:v>
                </c:pt>
                <c:pt idx="63">
                  <c:v>41703</c:v>
                </c:pt>
                <c:pt idx="64">
                  <c:v>41704</c:v>
                </c:pt>
                <c:pt idx="65">
                  <c:v>41705</c:v>
                </c:pt>
                <c:pt idx="66">
                  <c:v>41706</c:v>
                </c:pt>
                <c:pt idx="67">
                  <c:v>41707</c:v>
                </c:pt>
                <c:pt idx="68">
                  <c:v>41708</c:v>
                </c:pt>
                <c:pt idx="69">
                  <c:v>41709</c:v>
                </c:pt>
                <c:pt idx="70">
                  <c:v>41710</c:v>
                </c:pt>
                <c:pt idx="71">
                  <c:v>41711</c:v>
                </c:pt>
                <c:pt idx="72">
                  <c:v>41712</c:v>
                </c:pt>
                <c:pt idx="73">
                  <c:v>41713</c:v>
                </c:pt>
                <c:pt idx="74">
                  <c:v>41714</c:v>
                </c:pt>
                <c:pt idx="75">
                  <c:v>41715</c:v>
                </c:pt>
                <c:pt idx="76">
                  <c:v>41716</c:v>
                </c:pt>
                <c:pt idx="77">
                  <c:v>41717</c:v>
                </c:pt>
                <c:pt idx="78">
                  <c:v>41718</c:v>
                </c:pt>
                <c:pt idx="79">
                  <c:v>41719</c:v>
                </c:pt>
                <c:pt idx="80">
                  <c:v>41720</c:v>
                </c:pt>
                <c:pt idx="81">
                  <c:v>41721</c:v>
                </c:pt>
                <c:pt idx="82">
                  <c:v>41722</c:v>
                </c:pt>
                <c:pt idx="83">
                  <c:v>41723</c:v>
                </c:pt>
                <c:pt idx="84">
                  <c:v>41724</c:v>
                </c:pt>
                <c:pt idx="85">
                  <c:v>41725</c:v>
                </c:pt>
                <c:pt idx="86">
                  <c:v>41726</c:v>
                </c:pt>
                <c:pt idx="87">
                  <c:v>41727</c:v>
                </c:pt>
                <c:pt idx="88">
                  <c:v>41728</c:v>
                </c:pt>
                <c:pt idx="89">
                  <c:v>41729</c:v>
                </c:pt>
                <c:pt idx="90">
                  <c:v>41730</c:v>
                </c:pt>
                <c:pt idx="91">
                  <c:v>41731</c:v>
                </c:pt>
                <c:pt idx="92">
                  <c:v>41732</c:v>
                </c:pt>
                <c:pt idx="93">
                  <c:v>41733</c:v>
                </c:pt>
                <c:pt idx="94">
                  <c:v>41734</c:v>
                </c:pt>
                <c:pt idx="95">
                  <c:v>41735</c:v>
                </c:pt>
                <c:pt idx="96">
                  <c:v>41736</c:v>
                </c:pt>
                <c:pt idx="97">
                  <c:v>41737</c:v>
                </c:pt>
                <c:pt idx="98">
                  <c:v>41738</c:v>
                </c:pt>
                <c:pt idx="99">
                  <c:v>41739</c:v>
                </c:pt>
                <c:pt idx="100">
                  <c:v>41740</c:v>
                </c:pt>
                <c:pt idx="101">
                  <c:v>41741</c:v>
                </c:pt>
                <c:pt idx="102">
                  <c:v>41742</c:v>
                </c:pt>
                <c:pt idx="103">
                  <c:v>41743</c:v>
                </c:pt>
                <c:pt idx="104">
                  <c:v>41744</c:v>
                </c:pt>
                <c:pt idx="105">
                  <c:v>41745</c:v>
                </c:pt>
                <c:pt idx="106">
                  <c:v>41746</c:v>
                </c:pt>
                <c:pt idx="107">
                  <c:v>41747</c:v>
                </c:pt>
                <c:pt idx="108">
                  <c:v>41748</c:v>
                </c:pt>
                <c:pt idx="109">
                  <c:v>41749</c:v>
                </c:pt>
                <c:pt idx="110">
                  <c:v>41750</c:v>
                </c:pt>
                <c:pt idx="111">
                  <c:v>41751</c:v>
                </c:pt>
                <c:pt idx="112">
                  <c:v>41752</c:v>
                </c:pt>
                <c:pt idx="113">
                  <c:v>41753</c:v>
                </c:pt>
                <c:pt idx="114">
                  <c:v>41754</c:v>
                </c:pt>
                <c:pt idx="115">
                  <c:v>41755</c:v>
                </c:pt>
                <c:pt idx="116">
                  <c:v>41756</c:v>
                </c:pt>
                <c:pt idx="117">
                  <c:v>41757</c:v>
                </c:pt>
                <c:pt idx="118">
                  <c:v>41758</c:v>
                </c:pt>
                <c:pt idx="119">
                  <c:v>41759</c:v>
                </c:pt>
                <c:pt idx="120">
                  <c:v>41760</c:v>
                </c:pt>
                <c:pt idx="121">
                  <c:v>41761</c:v>
                </c:pt>
                <c:pt idx="122">
                  <c:v>41762</c:v>
                </c:pt>
                <c:pt idx="123">
                  <c:v>41763</c:v>
                </c:pt>
                <c:pt idx="124">
                  <c:v>41764</c:v>
                </c:pt>
                <c:pt idx="125">
                  <c:v>41765</c:v>
                </c:pt>
                <c:pt idx="126">
                  <c:v>41766</c:v>
                </c:pt>
                <c:pt idx="127">
                  <c:v>41767</c:v>
                </c:pt>
                <c:pt idx="128">
                  <c:v>41768</c:v>
                </c:pt>
                <c:pt idx="129">
                  <c:v>41769</c:v>
                </c:pt>
                <c:pt idx="130">
                  <c:v>41770</c:v>
                </c:pt>
                <c:pt idx="131">
                  <c:v>41771</c:v>
                </c:pt>
                <c:pt idx="132">
                  <c:v>41772</c:v>
                </c:pt>
                <c:pt idx="133">
                  <c:v>41773</c:v>
                </c:pt>
                <c:pt idx="134">
                  <c:v>41774</c:v>
                </c:pt>
                <c:pt idx="135">
                  <c:v>41775</c:v>
                </c:pt>
                <c:pt idx="136">
                  <c:v>41776</c:v>
                </c:pt>
                <c:pt idx="137">
                  <c:v>41777</c:v>
                </c:pt>
                <c:pt idx="138">
                  <c:v>41778</c:v>
                </c:pt>
                <c:pt idx="139">
                  <c:v>41779</c:v>
                </c:pt>
                <c:pt idx="140">
                  <c:v>41780</c:v>
                </c:pt>
                <c:pt idx="141">
                  <c:v>41781</c:v>
                </c:pt>
                <c:pt idx="142">
                  <c:v>41782</c:v>
                </c:pt>
                <c:pt idx="143">
                  <c:v>41783</c:v>
                </c:pt>
                <c:pt idx="144">
                  <c:v>41784</c:v>
                </c:pt>
                <c:pt idx="145">
                  <c:v>41785</c:v>
                </c:pt>
                <c:pt idx="146">
                  <c:v>41786</c:v>
                </c:pt>
                <c:pt idx="147">
                  <c:v>41787</c:v>
                </c:pt>
                <c:pt idx="148">
                  <c:v>41788</c:v>
                </c:pt>
                <c:pt idx="149">
                  <c:v>41789</c:v>
                </c:pt>
                <c:pt idx="150">
                  <c:v>41790</c:v>
                </c:pt>
                <c:pt idx="151">
                  <c:v>41791</c:v>
                </c:pt>
                <c:pt idx="152">
                  <c:v>41792</c:v>
                </c:pt>
                <c:pt idx="153">
                  <c:v>41793</c:v>
                </c:pt>
                <c:pt idx="154">
                  <c:v>41794</c:v>
                </c:pt>
                <c:pt idx="155">
                  <c:v>41795</c:v>
                </c:pt>
                <c:pt idx="156">
                  <c:v>41796</c:v>
                </c:pt>
                <c:pt idx="157">
                  <c:v>41797</c:v>
                </c:pt>
                <c:pt idx="158">
                  <c:v>41798</c:v>
                </c:pt>
                <c:pt idx="159">
                  <c:v>41799</c:v>
                </c:pt>
                <c:pt idx="160">
                  <c:v>41800</c:v>
                </c:pt>
                <c:pt idx="161">
                  <c:v>41801</c:v>
                </c:pt>
                <c:pt idx="162">
                  <c:v>41802</c:v>
                </c:pt>
                <c:pt idx="163">
                  <c:v>41803</c:v>
                </c:pt>
                <c:pt idx="164">
                  <c:v>41804</c:v>
                </c:pt>
                <c:pt idx="165">
                  <c:v>41805</c:v>
                </c:pt>
                <c:pt idx="166">
                  <c:v>41806</c:v>
                </c:pt>
                <c:pt idx="167">
                  <c:v>41807</c:v>
                </c:pt>
                <c:pt idx="168">
                  <c:v>41808</c:v>
                </c:pt>
                <c:pt idx="169">
                  <c:v>41809</c:v>
                </c:pt>
                <c:pt idx="170">
                  <c:v>41810</c:v>
                </c:pt>
                <c:pt idx="171">
                  <c:v>41811</c:v>
                </c:pt>
                <c:pt idx="172">
                  <c:v>41812</c:v>
                </c:pt>
                <c:pt idx="173">
                  <c:v>41813</c:v>
                </c:pt>
                <c:pt idx="174">
                  <c:v>41814</c:v>
                </c:pt>
                <c:pt idx="175">
                  <c:v>41815</c:v>
                </c:pt>
                <c:pt idx="176">
                  <c:v>41816</c:v>
                </c:pt>
                <c:pt idx="177">
                  <c:v>41817</c:v>
                </c:pt>
                <c:pt idx="178">
                  <c:v>41818</c:v>
                </c:pt>
                <c:pt idx="179">
                  <c:v>41819</c:v>
                </c:pt>
                <c:pt idx="180">
                  <c:v>41820</c:v>
                </c:pt>
                <c:pt idx="181">
                  <c:v>41821</c:v>
                </c:pt>
                <c:pt idx="182">
                  <c:v>41822</c:v>
                </c:pt>
                <c:pt idx="183">
                  <c:v>41823</c:v>
                </c:pt>
                <c:pt idx="184">
                  <c:v>41824</c:v>
                </c:pt>
                <c:pt idx="185">
                  <c:v>41825</c:v>
                </c:pt>
                <c:pt idx="186">
                  <c:v>41826</c:v>
                </c:pt>
                <c:pt idx="187">
                  <c:v>41827</c:v>
                </c:pt>
                <c:pt idx="188">
                  <c:v>41828</c:v>
                </c:pt>
                <c:pt idx="189">
                  <c:v>41829</c:v>
                </c:pt>
                <c:pt idx="190">
                  <c:v>41830</c:v>
                </c:pt>
                <c:pt idx="191">
                  <c:v>41831</c:v>
                </c:pt>
                <c:pt idx="192">
                  <c:v>41832</c:v>
                </c:pt>
                <c:pt idx="193">
                  <c:v>41833</c:v>
                </c:pt>
                <c:pt idx="194">
                  <c:v>41834</c:v>
                </c:pt>
                <c:pt idx="195">
                  <c:v>41835</c:v>
                </c:pt>
                <c:pt idx="196">
                  <c:v>41836</c:v>
                </c:pt>
                <c:pt idx="197">
                  <c:v>41837</c:v>
                </c:pt>
                <c:pt idx="198">
                  <c:v>41838</c:v>
                </c:pt>
                <c:pt idx="199">
                  <c:v>41839</c:v>
                </c:pt>
                <c:pt idx="200">
                  <c:v>41840</c:v>
                </c:pt>
                <c:pt idx="201">
                  <c:v>41841</c:v>
                </c:pt>
                <c:pt idx="202">
                  <c:v>41842</c:v>
                </c:pt>
                <c:pt idx="203">
                  <c:v>41843</c:v>
                </c:pt>
                <c:pt idx="204">
                  <c:v>41844</c:v>
                </c:pt>
                <c:pt idx="205">
                  <c:v>41845</c:v>
                </c:pt>
                <c:pt idx="206">
                  <c:v>41846</c:v>
                </c:pt>
                <c:pt idx="207">
                  <c:v>41847</c:v>
                </c:pt>
                <c:pt idx="208">
                  <c:v>41848</c:v>
                </c:pt>
                <c:pt idx="209">
                  <c:v>41849</c:v>
                </c:pt>
                <c:pt idx="210">
                  <c:v>41850</c:v>
                </c:pt>
                <c:pt idx="211">
                  <c:v>41851</c:v>
                </c:pt>
                <c:pt idx="212">
                  <c:v>41852</c:v>
                </c:pt>
                <c:pt idx="213">
                  <c:v>41853</c:v>
                </c:pt>
                <c:pt idx="214">
                  <c:v>41854</c:v>
                </c:pt>
                <c:pt idx="215">
                  <c:v>41855</c:v>
                </c:pt>
                <c:pt idx="216">
                  <c:v>41856</c:v>
                </c:pt>
                <c:pt idx="217">
                  <c:v>41857</c:v>
                </c:pt>
                <c:pt idx="218">
                  <c:v>41858</c:v>
                </c:pt>
                <c:pt idx="219">
                  <c:v>41859</c:v>
                </c:pt>
                <c:pt idx="220">
                  <c:v>41860</c:v>
                </c:pt>
                <c:pt idx="221">
                  <c:v>41861</c:v>
                </c:pt>
                <c:pt idx="222">
                  <c:v>41862</c:v>
                </c:pt>
                <c:pt idx="223">
                  <c:v>41863</c:v>
                </c:pt>
                <c:pt idx="224">
                  <c:v>41864</c:v>
                </c:pt>
                <c:pt idx="225">
                  <c:v>41865</c:v>
                </c:pt>
                <c:pt idx="226">
                  <c:v>41866</c:v>
                </c:pt>
                <c:pt idx="227">
                  <c:v>41867</c:v>
                </c:pt>
                <c:pt idx="228">
                  <c:v>41868</c:v>
                </c:pt>
                <c:pt idx="229">
                  <c:v>41869</c:v>
                </c:pt>
                <c:pt idx="230">
                  <c:v>41870</c:v>
                </c:pt>
                <c:pt idx="231">
                  <c:v>41871</c:v>
                </c:pt>
                <c:pt idx="232">
                  <c:v>41872</c:v>
                </c:pt>
                <c:pt idx="233">
                  <c:v>41873</c:v>
                </c:pt>
                <c:pt idx="234">
                  <c:v>41874</c:v>
                </c:pt>
                <c:pt idx="235">
                  <c:v>41875</c:v>
                </c:pt>
                <c:pt idx="236">
                  <c:v>41876</c:v>
                </c:pt>
                <c:pt idx="237">
                  <c:v>41877</c:v>
                </c:pt>
                <c:pt idx="238">
                  <c:v>41878</c:v>
                </c:pt>
                <c:pt idx="239">
                  <c:v>41879</c:v>
                </c:pt>
                <c:pt idx="240">
                  <c:v>41880</c:v>
                </c:pt>
                <c:pt idx="241">
                  <c:v>41881</c:v>
                </c:pt>
                <c:pt idx="242">
                  <c:v>41882</c:v>
                </c:pt>
                <c:pt idx="243">
                  <c:v>41883</c:v>
                </c:pt>
                <c:pt idx="244">
                  <c:v>41884</c:v>
                </c:pt>
                <c:pt idx="245">
                  <c:v>41885</c:v>
                </c:pt>
                <c:pt idx="246">
                  <c:v>41886</c:v>
                </c:pt>
                <c:pt idx="247">
                  <c:v>41887</c:v>
                </c:pt>
                <c:pt idx="248">
                  <c:v>41888</c:v>
                </c:pt>
                <c:pt idx="249">
                  <c:v>41889</c:v>
                </c:pt>
                <c:pt idx="250">
                  <c:v>41890</c:v>
                </c:pt>
                <c:pt idx="251">
                  <c:v>41891</c:v>
                </c:pt>
                <c:pt idx="252">
                  <c:v>41892</c:v>
                </c:pt>
                <c:pt idx="253">
                  <c:v>41893</c:v>
                </c:pt>
                <c:pt idx="254">
                  <c:v>41894</c:v>
                </c:pt>
                <c:pt idx="255">
                  <c:v>41895</c:v>
                </c:pt>
                <c:pt idx="256">
                  <c:v>41896</c:v>
                </c:pt>
                <c:pt idx="257">
                  <c:v>41897</c:v>
                </c:pt>
                <c:pt idx="258">
                  <c:v>41898</c:v>
                </c:pt>
                <c:pt idx="259">
                  <c:v>41899</c:v>
                </c:pt>
                <c:pt idx="260">
                  <c:v>41900</c:v>
                </c:pt>
                <c:pt idx="261">
                  <c:v>41901</c:v>
                </c:pt>
                <c:pt idx="262">
                  <c:v>41902</c:v>
                </c:pt>
                <c:pt idx="263">
                  <c:v>41903</c:v>
                </c:pt>
                <c:pt idx="264">
                  <c:v>41904</c:v>
                </c:pt>
                <c:pt idx="265">
                  <c:v>41905</c:v>
                </c:pt>
                <c:pt idx="266">
                  <c:v>41906</c:v>
                </c:pt>
                <c:pt idx="267">
                  <c:v>41907</c:v>
                </c:pt>
                <c:pt idx="268">
                  <c:v>41908</c:v>
                </c:pt>
                <c:pt idx="269">
                  <c:v>41909</c:v>
                </c:pt>
                <c:pt idx="270">
                  <c:v>41910</c:v>
                </c:pt>
                <c:pt idx="271">
                  <c:v>41911</c:v>
                </c:pt>
                <c:pt idx="272">
                  <c:v>41912</c:v>
                </c:pt>
                <c:pt idx="273">
                  <c:v>41913</c:v>
                </c:pt>
                <c:pt idx="274">
                  <c:v>41914</c:v>
                </c:pt>
                <c:pt idx="275">
                  <c:v>41915</c:v>
                </c:pt>
                <c:pt idx="276">
                  <c:v>41916</c:v>
                </c:pt>
                <c:pt idx="277">
                  <c:v>41917</c:v>
                </c:pt>
                <c:pt idx="278">
                  <c:v>41918</c:v>
                </c:pt>
                <c:pt idx="279">
                  <c:v>41919</c:v>
                </c:pt>
                <c:pt idx="280">
                  <c:v>41920</c:v>
                </c:pt>
                <c:pt idx="281">
                  <c:v>41921</c:v>
                </c:pt>
                <c:pt idx="282">
                  <c:v>41922</c:v>
                </c:pt>
                <c:pt idx="283">
                  <c:v>41923</c:v>
                </c:pt>
                <c:pt idx="284">
                  <c:v>41924</c:v>
                </c:pt>
                <c:pt idx="285">
                  <c:v>41925</c:v>
                </c:pt>
                <c:pt idx="286">
                  <c:v>41926</c:v>
                </c:pt>
                <c:pt idx="287">
                  <c:v>41927</c:v>
                </c:pt>
                <c:pt idx="288">
                  <c:v>41928</c:v>
                </c:pt>
                <c:pt idx="289">
                  <c:v>41929</c:v>
                </c:pt>
                <c:pt idx="290">
                  <c:v>41930</c:v>
                </c:pt>
                <c:pt idx="291">
                  <c:v>41931</c:v>
                </c:pt>
                <c:pt idx="292">
                  <c:v>41932</c:v>
                </c:pt>
                <c:pt idx="293">
                  <c:v>41933</c:v>
                </c:pt>
                <c:pt idx="294">
                  <c:v>41934</c:v>
                </c:pt>
                <c:pt idx="295">
                  <c:v>41935</c:v>
                </c:pt>
                <c:pt idx="296">
                  <c:v>41936</c:v>
                </c:pt>
                <c:pt idx="297">
                  <c:v>41937</c:v>
                </c:pt>
                <c:pt idx="298">
                  <c:v>41938</c:v>
                </c:pt>
                <c:pt idx="299">
                  <c:v>41939</c:v>
                </c:pt>
                <c:pt idx="300">
                  <c:v>41940</c:v>
                </c:pt>
                <c:pt idx="301">
                  <c:v>41941</c:v>
                </c:pt>
                <c:pt idx="302">
                  <c:v>41942</c:v>
                </c:pt>
                <c:pt idx="303">
                  <c:v>41943</c:v>
                </c:pt>
                <c:pt idx="304">
                  <c:v>41944</c:v>
                </c:pt>
                <c:pt idx="305">
                  <c:v>41945</c:v>
                </c:pt>
                <c:pt idx="306">
                  <c:v>41946</c:v>
                </c:pt>
                <c:pt idx="307">
                  <c:v>41947</c:v>
                </c:pt>
                <c:pt idx="308">
                  <c:v>41948</c:v>
                </c:pt>
                <c:pt idx="309">
                  <c:v>41949</c:v>
                </c:pt>
                <c:pt idx="310">
                  <c:v>41950</c:v>
                </c:pt>
                <c:pt idx="311">
                  <c:v>41951</c:v>
                </c:pt>
                <c:pt idx="312">
                  <c:v>41952</c:v>
                </c:pt>
                <c:pt idx="313">
                  <c:v>41953</c:v>
                </c:pt>
                <c:pt idx="314">
                  <c:v>41954</c:v>
                </c:pt>
                <c:pt idx="315">
                  <c:v>41955</c:v>
                </c:pt>
                <c:pt idx="316">
                  <c:v>41956</c:v>
                </c:pt>
                <c:pt idx="317">
                  <c:v>41957</c:v>
                </c:pt>
                <c:pt idx="318">
                  <c:v>41958</c:v>
                </c:pt>
                <c:pt idx="319">
                  <c:v>41959</c:v>
                </c:pt>
                <c:pt idx="320">
                  <c:v>41960</c:v>
                </c:pt>
                <c:pt idx="321">
                  <c:v>41961</c:v>
                </c:pt>
                <c:pt idx="322">
                  <c:v>41964</c:v>
                </c:pt>
                <c:pt idx="323">
                  <c:v>41965</c:v>
                </c:pt>
                <c:pt idx="324">
                  <c:v>41966</c:v>
                </c:pt>
                <c:pt idx="325">
                  <c:v>41967</c:v>
                </c:pt>
                <c:pt idx="326">
                  <c:v>41968</c:v>
                </c:pt>
                <c:pt idx="327">
                  <c:v>41969</c:v>
                </c:pt>
                <c:pt idx="328">
                  <c:v>41970</c:v>
                </c:pt>
                <c:pt idx="329">
                  <c:v>41971</c:v>
                </c:pt>
                <c:pt idx="330">
                  <c:v>41972</c:v>
                </c:pt>
                <c:pt idx="331">
                  <c:v>41973</c:v>
                </c:pt>
                <c:pt idx="332">
                  <c:v>41974</c:v>
                </c:pt>
                <c:pt idx="333">
                  <c:v>41975</c:v>
                </c:pt>
                <c:pt idx="334">
                  <c:v>41976</c:v>
                </c:pt>
                <c:pt idx="335">
                  <c:v>41977</c:v>
                </c:pt>
                <c:pt idx="336">
                  <c:v>41978</c:v>
                </c:pt>
                <c:pt idx="337">
                  <c:v>41979</c:v>
                </c:pt>
                <c:pt idx="338">
                  <c:v>41980</c:v>
                </c:pt>
                <c:pt idx="339">
                  <c:v>41981</c:v>
                </c:pt>
                <c:pt idx="340">
                  <c:v>41982</c:v>
                </c:pt>
                <c:pt idx="341">
                  <c:v>41983</c:v>
                </c:pt>
                <c:pt idx="342">
                  <c:v>41984</c:v>
                </c:pt>
                <c:pt idx="343">
                  <c:v>41985</c:v>
                </c:pt>
                <c:pt idx="344">
                  <c:v>41986</c:v>
                </c:pt>
                <c:pt idx="345">
                  <c:v>41987</c:v>
                </c:pt>
                <c:pt idx="346">
                  <c:v>41988</c:v>
                </c:pt>
                <c:pt idx="347">
                  <c:v>41989</c:v>
                </c:pt>
                <c:pt idx="348">
                  <c:v>41990</c:v>
                </c:pt>
                <c:pt idx="349">
                  <c:v>41991</c:v>
                </c:pt>
                <c:pt idx="350">
                  <c:v>41994</c:v>
                </c:pt>
                <c:pt idx="351">
                  <c:v>41995</c:v>
                </c:pt>
                <c:pt idx="352">
                  <c:v>41996</c:v>
                </c:pt>
                <c:pt idx="353">
                  <c:v>41997</c:v>
                </c:pt>
                <c:pt idx="354">
                  <c:v>41998</c:v>
                </c:pt>
                <c:pt idx="355">
                  <c:v>41999</c:v>
                </c:pt>
                <c:pt idx="356">
                  <c:v>42000</c:v>
                </c:pt>
                <c:pt idx="357">
                  <c:v>42001</c:v>
                </c:pt>
                <c:pt idx="358">
                  <c:v>42002</c:v>
                </c:pt>
                <c:pt idx="359">
                  <c:v>42003</c:v>
                </c:pt>
                <c:pt idx="360">
                  <c:v>42004</c:v>
                </c:pt>
                <c:pt idx="361">
                  <c:v>42005</c:v>
                </c:pt>
                <c:pt idx="362">
                  <c:v>42006</c:v>
                </c:pt>
                <c:pt idx="363">
                  <c:v>42007</c:v>
                </c:pt>
                <c:pt idx="364">
                  <c:v>42008</c:v>
                </c:pt>
                <c:pt idx="365">
                  <c:v>42009</c:v>
                </c:pt>
                <c:pt idx="366">
                  <c:v>42010</c:v>
                </c:pt>
                <c:pt idx="367">
                  <c:v>42011</c:v>
                </c:pt>
                <c:pt idx="368">
                  <c:v>42012</c:v>
                </c:pt>
                <c:pt idx="369">
                  <c:v>42013</c:v>
                </c:pt>
                <c:pt idx="370">
                  <c:v>42014</c:v>
                </c:pt>
                <c:pt idx="371">
                  <c:v>42015</c:v>
                </c:pt>
                <c:pt idx="372">
                  <c:v>42016</c:v>
                </c:pt>
                <c:pt idx="373">
                  <c:v>42017</c:v>
                </c:pt>
                <c:pt idx="374">
                  <c:v>42018</c:v>
                </c:pt>
                <c:pt idx="375">
                  <c:v>42019</c:v>
                </c:pt>
                <c:pt idx="376">
                  <c:v>42020</c:v>
                </c:pt>
                <c:pt idx="377">
                  <c:v>42021</c:v>
                </c:pt>
                <c:pt idx="378">
                  <c:v>42022</c:v>
                </c:pt>
                <c:pt idx="379">
                  <c:v>42025</c:v>
                </c:pt>
                <c:pt idx="380">
                  <c:v>42026</c:v>
                </c:pt>
                <c:pt idx="381">
                  <c:v>42027</c:v>
                </c:pt>
                <c:pt idx="382">
                  <c:v>42028</c:v>
                </c:pt>
                <c:pt idx="383">
                  <c:v>42029</c:v>
                </c:pt>
                <c:pt idx="384">
                  <c:v>42030</c:v>
                </c:pt>
                <c:pt idx="385">
                  <c:v>42031</c:v>
                </c:pt>
                <c:pt idx="386">
                  <c:v>42032</c:v>
                </c:pt>
                <c:pt idx="387">
                  <c:v>42033</c:v>
                </c:pt>
                <c:pt idx="388">
                  <c:v>42034</c:v>
                </c:pt>
                <c:pt idx="389">
                  <c:v>42035</c:v>
                </c:pt>
                <c:pt idx="390">
                  <c:v>42036</c:v>
                </c:pt>
                <c:pt idx="391">
                  <c:v>42037</c:v>
                </c:pt>
                <c:pt idx="392">
                  <c:v>42038</c:v>
                </c:pt>
                <c:pt idx="393">
                  <c:v>42039</c:v>
                </c:pt>
                <c:pt idx="394">
                  <c:v>42040</c:v>
                </c:pt>
                <c:pt idx="395">
                  <c:v>42041</c:v>
                </c:pt>
                <c:pt idx="396">
                  <c:v>42042</c:v>
                </c:pt>
                <c:pt idx="397">
                  <c:v>42043</c:v>
                </c:pt>
                <c:pt idx="398">
                  <c:v>42044</c:v>
                </c:pt>
                <c:pt idx="399">
                  <c:v>42045</c:v>
                </c:pt>
                <c:pt idx="400">
                  <c:v>42046</c:v>
                </c:pt>
                <c:pt idx="401">
                  <c:v>42047</c:v>
                </c:pt>
                <c:pt idx="402">
                  <c:v>42048</c:v>
                </c:pt>
                <c:pt idx="403">
                  <c:v>42049</c:v>
                </c:pt>
                <c:pt idx="404">
                  <c:v>42050</c:v>
                </c:pt>
                <c:pt idx="405">
                  <c:v>42051</c:v>
                </c:pt>
                <c:pt idx="406">
                  <c:v>42052</c:v>
                </c:pt>
                <c:pt idx="407">
                  <c:v>42053</c:v>
                </c:pt>
                <c:pt idx="408">
                  <c:v>42056</c:v>
                </c:pt>
                <c:pt idx="409">
                  <c:v>42057</c:v>
                </c:pt>
                <c:pt idx="410">
                  <c:v>42058</c:v>
                </c:pt>
                <c:pt idx="411">
                  <c:v>42059</c:v>
                </c:pt>
                <c:pt idx="412">
                  <c:v>42060</c:v>
                </c:pt>
                <c:pt idx="413">
                  <c:v>42061</c:v>
                </c:pt>
                <c:pt idx="414">
                  <c:v>42062</c:v>
                </c:pt>
                <c:pt idx="415">
                  <c:v>42063</c:v>
                </c:pt>
                <c:pt idx="416">
                  <c:v>42064</c:v>
                </c:pt>
                <c:pt idx="417">
                  <c:v>42065</c:v>
                </c:pt>
                <c:pt idx="418">
                  <c:v>42066</c:v>
                </c:pt>
                <c:pt idx="419">
                  <c:v>42067</c:v>
                </c:pt>
                <c:pt idx="420">
                  <c:v>42068</c:v>
                </c:pt>
                <c:pt idx="421">
                  <c:v>42069</c:v>
                </c:pt>
                <c:pt idx="422">
                  <c:v>42070</c:v>
                </c:pt>
                <c:pt idx="423">
                  <c:v>42071</c:v>
                </c:pt>
                <c:pt idx="424">
                  <c:v>42072</c:v>
                </c:pt>
                <c:pt idx="425">
                  <c:v>42073</c:v>
                </c:pt>
                <c:pt idx="426">
                  <c:v>42074</c:v>
                </c:pt>
                <c:pt idx="427">
                  <c:v>42075</c:v>
                </c:pt>
                <c:pt idx="428">
                  <c:v>42076</c:v>
                </c:pt>
                <c:pt idx="429">
                  <c:v>42077</c:v>
                </c:pt>
                <c:pt idx="430">
                  <c:v>42078</c:v>
                </c:pt>
                <c:pt idx="431">
                  <c:v>42079</c:v>
                </c:pt>
                <c:pt idx="432">
                  <c:v>42080</c:v>
                </c:pt>
                <c:pt idx="433">
                  <c:v>42081</c:v>
                </c:pt>
                <c:pt idx="434">
                  <c:v>42084</c:v>
                </c:pt>
                <c:pt idx="435">
                  <c:v>42085</c:v>
                </c:pt>
                <c:pt idx="436">
                  <c:v>42086</c:v>
                </c:pt>
                <c:pt idx="437">
                  <c:v>42087</c:v>
                </c:pt>
                <c:pt idx="438">
                  <c:v>42088</c:v>
                </c:pt>
                <c:pt idx="439">
                  <c:v>42089</c:v>
                </c:pt>
                <c:pt idx="440">
                  <c:v>42090</c:v>
                </c:pt>
                <c:pt idx="441">
                  <c:v>42091</c:v>
                </c:pt>
                <c:pt idx="442">
                  <c:v>42092</c:v>
                </c:pt>
                <c:pt idx="443">
                  <c:v>42093</c:v>
                </c:pt>
                <c:pt idx="444">
                  <c:v>42094</c:v>
                </c:pt>
                <c:pt idx="445">
                  <c:v>42095</c:v>
                </c:pt>
                <c:pt idx="446">
                  <c:v>42096</c:v>
                </c:pt>
                <c:pt idx="447">
                  <c:v>42097</c:v>
                </c:pt>
                <c:pt idx="448">
                  <c:v>42098</c:v>
                </c:pt>
                <c:pt idx="449">
                  <c:v>42099</c:v>
                </c:pt>
                <c:pt idx="450">
                  <c:v>42100</c:v>
                </c:pt>
                <c:pt idx="451">
                  <c:v>42101</c:v>
                </c:pt>
                <c:pt idx="452">
                  <c:v>42102</c:v>
                </c:pt>
                <c:pt idx="453">
                  <c:v>42103</c:v>
                </c:pt>
                <c:pt idx="454">
                  <c:v>42104</c:v>
                </c:pt>
                <c:pt idx="455">
                  <c:v>42105</c:v>
                </c:pt>
                <c:pt idx="456">
                  <c:v>42106</c:v>
                </c:pt>
                <c:pt idx="457">
                  <c:v>42107</c:v>
                </c:pt>
                <c:pt idx="458">
                  <c:v>42108</c:v>
                </c:pt>
                <c:pt idx="459">
                  <c:v>42109</c:v>
                </c:pt>
                <c:pt idx="460">
                  <c:v>42110</c:v>
                </c:pt>
                <c:pt idx="461">
                  <c:v>42111</c:v>
                </c:pt>
                <c:pt idx="462">
                  <c:v>42112</c:v>
                </c:pt>
                <c:pt idx="463">
                  <c:v>42113</c:v>
                </c:pt>
                <c:pt idx="464">
                  <c:v>42114</c:v>
                </c:pt>
                <c:pt idx="465">
                  <c:v>42115</c:v>
                </c:pt>
                <c:pt idx="466">
                  <c:v>42116</c:v>
                </c:pt>
                <c:pt idx="467">
                  <c:v>42117</c:v>
                </c:pt>
                <c:pt idx="468">
                  <c:v>42118</c:v>
                </c:pt>
                <c:pt idx="469">
                  <c:v>42119</c:v>
                </c:pt>
                <c:pt idx="470">
                  <c:v>42120</c:v>
                </c:pt>
                <c:pt idx="471">
                  <c:v>42121</c:v>
                </c:pt>
                <c:pt idx="472">
                  <c:v>42122</c:v>
                </c:pt>
                <c:pt idx="473">
                  <c:v>42123</c:v>
                </c:pt>
                <c:pt idx="474">
                  <c:v>42124</c:v>
                </c:pt>
                <c:pt idx="475">
                  <c:v>42125</c:v>
                </c:pt>
                <c:pt idx="476">
                  <c:v>42126</c:v>
                </c:pt>
                <c:pt idx="477">
                  <c:v>42127</c:v>
                </c:pt>
                <c:pt idx="478">
                  <c:v>42128</c:v>
                </c:pt>
                <c:pt idx="479">
                  <c:v>42129</c:v>
                </c:pt>
                <c:pt idx="480">
                  <c:v>42130</c:v>
                </c:pt>
                <c:pt idx="481">
                  <c:v>42131</c:v>
                </c:pt>
                <c:pt idx="482">
                  <c:v>42132</c:v>
                </c:pt>
                <c:pt idx="483">
                  <c:v>42133</c:v>
                </c:pt>
                <c:pt idx="484">
                  <c:v>42134</c:v>
                </c:pt>
                <c:pt idx="485">
                  <c:v>42135</c:v>
                </c:pt>
                <c:pt idx="486">
                  <c:v>42136</c:v>
                </c:pt>
                <c:pt idx="487">
                  <c:v>42137</c:v>
                </c:pt>
                <c:pt idx="488">
                  <c:v>42138</c:v>
                </c:pt>
                <c:pt idx="489">
                  <c:v>42139</c:v>
                </c:pt>
                <c:pt idx="490">
                  <c:v>42140</c:v>
                </c:pt>
                <c:pt idx="491">
                  <c:v>42141</c:v>
                </c:pt>
                <c:pt idx="492">
                  <c:v>42142</c:v>
                </c:pt>
                <c:pt idx="493">
                  <c:v>42145</c:v>
                </c:pt>
                <c:pt idx="494">
                  <c:v>42146</c:v>
                </c:pt>
                <c:pt idx="495">
                  <c:v>42147</c:v>
                </c:pt>
                <c:pt idx="496">
                  <c:v>42148</c:v>
                </c:pt>
                <c:pt idx="497">
                  <c:v>42149</c:v>
                </c:pt>
                <c:pt idx="498">
                  <c:v>42150</c:v>
                </c:pt>
                <c:pt idx="499">
                  <c:v>42151</c:v>
                </c:pt>
                <c:pt idx="500">
                  <c:v>42152</c:v>
                </c:pt>
                <c:pt idx="501">
                  <c:v>42153</c:v>
                </c:pt>
                <c:pt idx="502">
                  <c:v>42154</c:v>
                </c:pt>
                <c:pt idx="503">
                  <c:v>42155</c:v>
                </c:pt>
                <c:pt idx="504">
                  <c:v>42156</c:v>
                </c:pt>
                <c:pt idx="505">
                  <c:v>42157</c:v>
                </c:pt>
                <c:pt idx="506">
                  <c:v>42158</c:v>
                </c:pt>
                <c:pt idx="507">
                  <c:v>42159</c:v>
                </c:pt>
                <c:pt idx="508">
                  <c:v>42160</c:v>
                </c:pt>
                <c:pt idx="509">
                  <c:v>42161</c:v>
                </c:pt>
                <c:pt idx="510">
                  <c:v>42162</c:v>
                </c:pt>
                <c:pt idx="511">
                  <c:v>42163</c:v>
                </c:pt>
                <c:pt idx="512">
                  <c:v>42164</c:v>
                </c:pt>
                <c:pt idx="513">
                  <c:v>42165</c:v>
                </c:pt>
                <c:pt idx="514">
                  <c:v>42166</c:v>
                </c:pt>
                <c:pt idx="515">
                  <c:v>42167</c:v>
                </c:pt>
                <c:pt idx="516">
                  <c:v>42168</c:v>
                </c:pt>
                <c:pt idx="517">
                  <c:v>42169</c:v>
                </c:pt>
                <c:pt idx="518">
                  <c:v>42170</c:v>
                </c:pt>
                <c:pt idx="519">
                  <c:v>42171</c:v>
                </c:pt>
                <c:pt idx="520">
                  <c:v>42172</c:v>
                </c:pt>
                <c:pt idx="521">
                  <c:v>42173</c:v>
                </c:pt>
                <c:pt idx="522">
                  <c:v>42176</c:v>
                </c:pt>
                <c:pt idx="523">
                  <c:v>42177</c:v>
                </c:pt>
                <c:pt idx="524">
                  <c:v>42178</c:v>
                </c:pt>
                <c:pt idx="525">
                  <c:v>42179</c:v>
                </c:pt>
                <c:pt idx="526">
                  <c:v>42180</c:v>
                </c:pt>
                <c:pt idx="527">
                  <c:v>42181</c:v>
                </c:pt>
                <c:pt idx="528">
                  <c:v>42182</c:v>
                </c:pt>
                <c:pt idx="529">
                  <c:v>42183</c:v>
                </c:pt>
                <c:pt idx="530">
                  <c:v>42184</c:v>
                </c:pt>
                <c:pt idx="531">
                  <c:v>42185</c:v>
                </c:pt>
                <c:pt idx="532">
                  <c:v>42186</c:v>
                </c:pt>
                <c:pt idx="533">
                  <c:v>42187</c:v>
                </c:pt>
                <c:pt idx="534">
                  <c:v>42188</c:v>
                </c:pt>
                <c:pt idx="535">
                  <c:v>42189</c:v>
                </c:pt>
                <c:pt idx="536">
                  <c:v>42190</c:v>
                </c:pt>
                <c:pt idx="537">
                  <c:v>42191</c:v>
                </c:pt>
                <c:pt idx="538">
                  <c:v>42192</c:v>
                </c:pt>
                <c:pt idx="539">
                  <c:v>42193</c:v>
                </c:pt>
                <c:pt idx="540">
                  <c:v>42194</c:v>
                </c:pt>
                <c:pt idx="541">
                  <c:v>42195</c:v>
                </c:pt>
                <c:pt idx="542">
                  <c:v>42196</c:v>
                </c:pt>
                <c:pt idx="543">
                  <c:v>42197</c:v>
                </c:pt>
                <c:pt idx="544">
                  <c:v>42198</c:v>
                </c:pt>
                <c:pt idx="545">
                  <c:v>42199</c:v>
                </c:pt>
                <c:pt idx="546">
                  <c:v>42200</c:v>
                </c:pt>
                <c:pt idx="547">
                  <c:v>42201</c:v>
                </c:pt>
                <c:pt idx="548">
                  <c:v>42202</c:v>
                </c:pt>
                <c:pt idx="549">
                  <c:v>42203</c:v>
                </c:pt>
                <c:pt idx="550">
                  <c:v>42206</c:v>
                </c:pt>
                <c:pt idx="551">
                  <c:v>42207</c:v>
                </c:pt>
                <c:pt idx="552">
                  <c:v>42208</c:v>
                </c:pt>
                <c:pt idx="553">
                  <c:v>42209</c:v>
                </c:pt>
                <c:pt idx="554">
                  <c:v>42210</c:v>
                </c:pt>
                <c:pt idx="555">
                  <c:v>42211</c:v>
                </c:pt>
                <c:pt idx="556">
                  <c:v>42212</c:v>
                </c:pt>
                <c:pt idx="557">
                  <c:v>42213</c:v>
                </c:pt>
                <c:pt idx="558">
                  <c:v>42214</c:v>
                </c:pt>
                <c:pt idx="559">
                  <c:v>42215</c:v>
                </c:pt>
                <c:pt idx="560">
                  <c:v>42216</c:v>
                </c:pt>
                <c:pt idx="561">
                  <c:v>42217</c:v>
                </c:pt>
                <c:pt idx="562">
                  <c:v>42218</c:v>
                </c:pt>
                <c:pt idx="563">
                  <c:v>42219</c:v>
                </c:pt>
                <c:pt idx="564">
                  <c:v>42220</c:v>
                </c:pt>
                <c:pt idx="565">
                  <c:v>42221</c:v>
                </c:pt>
                <c:pt idx="566">
                  <c:v>42222</c:v>
                </c:pt>
                <c:pt idx="567">
                  <c:v>42223</c:v>
                </c:pt>
                <c:pt idx="568">
                  <c:v>42224</c:v>
                </c:pt>
                <c:pt idx="569">
                  <c:v>42225</c:v>
                </c:pt>
                <c:pt idx="570">
                  <c:v>42226</c:v>
                </c:pt>
                <c:pt idx="571">
                  <c:v>42227</c:v>
                </c:pt>
                <c:pt idx="572">
                  <c:v>42228</c:v>
                </c:pt>
                <c:pt idx="573">
                  <c:v>42229</c:v>
                </c:pt>
                <c:pt idx="574">
                  <c:v>42230</c:v>
                </c:pt>
                <c:pt idx="575">
                  <c:v>42231</c:v>
                </c:pt>
                <c:pt idx="576">
                  <c:v>42232</c:v>
                </c:pt>
                <c:pt idx="577">
                  <c:v>42233</c:v>
                </c:pt>
                <c:pt idx="578">
                  <c:v>42234</c:v>
                </c:pt>
                <c:pt idx="579">
                  <c:v>42237</c:v>
                </c:pt>
                <c:pt idx="580">
                  <c:v>42238</c:v>
                </c:pt>
                <c:pt idx="581">
                  <c:v>42239</c:v>
                </c:pt>
                <c:pt idx="582">
                  <c:v>42240</c:v>
                </c:pt>
                <c:pt idx="583">
                  <c:v>42241</c:v>
                </c:pt>
                <c:pt idx="584">
                  <c:v>42242</c:v>
                </c:pt>
                <c:pt idx="585">
                  <c:v>42243</c:v>
                </c:pt>
                <c:pt idx="586">
                  <c:v>42244</c:v>
                </c:pt>
                <c:pt idx="587">
                  <c:v>42245</c:v>
                </c:pt>
                <c:pt idx="588">
                  <c:v>42246</c:v>
                </c:pt>
                <c:pt idx="589">
                  <c:v>42247</c:v>
                </c:pt>
                <c:pt idx="590">
                  <c:v>42248</c:v>
                </c:pt>
                <c:pt idx="591">
                  <c:v>42249</c:v>
                </c:pt>
                <c:pt idx="592">
                  <c:v>42250</c:v>
                </c:pt>
                <c:pt idx="593">
                  <c:v>42251</c:v>
                </c:pt>
                <c:pt idx="594">
                  <c:v>42252</c:v>
                </c:pt>
                <c:pt idx="595">
                  <c:v>42253</c:v>
                </c:pt>
                <c:pt idx="596">
                  <c:v>42254</c:v>
                </c:pt>
                <c:pt idx="597">
                  <c:v>42255</c:v>
                </c:pt>
                <c:pt idx="598">
                  <c:v>42256</c:v>
                </c:pt>
                <c:pt idx="599">
                  <c:v>42257</c:v>
                </c:pt>
                <c:pt idx="600">
                  <c:v>42258</c:v>
                </c:pt>
                <c:pt idx="601">
                  <c:v>42259</c:v>
                </c:pt>
                <c:pt idx="602">
                  <c:v>42260</c:v>
                </c:pt>
                <c:pt idx="603">
                  <c:v>42261</c:v>
                </c:pt>
                <c:pt idx="604">
                  <c:v>42262</c:v>
                </c:pt>
                <c:pt idx="605">
                  <c:v>42263</c:v>
                </c:pt>
                <c:pt idx="606">
                  <c:v>42264</c:v>
                </c:pt>
                <c:pt idx="607">
                  <c:v>42265</c:v>
                </c:pt>
                <c:pt idx="608">
                  <c:v>42268</c:v>
                </c:pt>
                <c:pt idx="609">
                  <c:v>42269</c:v>
                </c:pt>
                <c:pt idx="610">
                  <c:v>42270</c:v>
                </c:pt>
                <c:pt idx="611">
                  <c:v>42271</c:v>
                </c:pt>
                <c:pt idx="612">
                  <c:v>42272</c:v>
                </c:pt>
                <c:pt idx="613">
                  <c:v>42273</c:v>
                </c:pt>
                <c:pt idx="614">
                  <c:v>42274</c:v>
                </c:pt>
                <c:pt idx="615">
                  <c:v>42275</c:v>
                </c:pt>
                <c:pt idx="616">
                  <c:v>42276</c:v>
                </c:pt>
                <c:pt idx="617">
                  <c:v>42277</c:v>
                </c:pt>
                <c:pt idx="618">
                  <c:v>42278</c:v>
                </c:pt>
                <c:pt idx="619">
                  <c:v>42279</c:v>
                </c:pt>
                <c:pt idx="620">
                  <c:v>42280</c:v>
                </c:pt>
                <c:pt idx="621">
                  <c:v>42281</c:v>
                </c:pt>
                <c:pt idx="622">
                  <c:v>42282</c:v>
                </c:pt>
                <c:pt idx="623">
                  <c:v>42283</c:v>
                </c:pt>
                <c:pt idx="624">
                  <c:v>42284</c:v>
                </c:pt>
                <c:pt idx="625">
                  <c:v>42285</c:v>
                </c:pt>
                <c:pt idx="626">
                  <c:v>42286</c:v>
                </c:pt>
                <c:pt idx="627">
                  <c:v>42287</c:v>
                </c:pt>
                <c:pt idx="628">
                  <c:v>42288</c:v>
                </c:pt>
                <c:pt idx="629">
                  <c:v>42289</c:v>
                </c:pt>
                <c:pt idx="630">
                  <c:v>42290</c:v>
                </c:pt>
                <c:pt idx="631">
                  <c:v>42291</c:v>
                </c:pt>
                <c:pt idx="632">
                  <c:v>42292</c:v>
                </c:pt>
                <c:pt idx="633">
                  <c:v>42293</c:v>
                </c:pt>
                <c:pt idx="634">
                  <c:v>42294</c:v>
                </c:pt>
                <c:pt idx="635">
                  <c:v>42295</c:v>
                </c:pt>
                <c:pt idx="636">
                  <c:v>42298</c:v>
                </c:pt>
                <c:pt idx="637">
                  <c:v>42299</c:v>
                </c:pt>
                <c:pt idx="638">
                  <c:v>42300</c:v>
                </c:pt>
                <c:pt idx="639">
                  <c:v>42301</c:v>
                </c:pt>
                <c:pt idx="640">
                  <c:v>42302</c:v>
                </c:pt>
                <c:pt idx="641">
                  <c:v>42303</c:v>
                </c:pt>
                <c:pt idx="642">
                  <c:v>42304</c:v>
                </c:pt>
                <c:pt idx="643">
                  <c:v>42305</c:v>
                </c:pt>
                <c:pt idx="644">
                  <c:v>42306</c:v>
                </c:pt>
                <c:pt idx="645">
                  <c:v>42307</c:v>
                </c:pt>
                <c:pt idx="646">
                  <c:v>42308</c:v>
                </c:pt>
                <c:pt idx="647">
                  <c:v>42309</c:v>
                </c:pt>
                <c:pt idx="648">
                  <c:v>42310</c:v>
                </c:pt>
                <c:pt idx="649">
                  <c:v>42311</c:v>
                </c:pt>
                <c:pt idx="650">
                  <c:v>42312</c:v>
                </c:pt>
                <c:pt idx="651">
                  <c:v>42313</c:v>
                </c:pt>
                <c:pt idx="652">
                  <c:v>42314</c:v>
                </c:pt>
                <c:pt idx="653">
                  <c:v>42315</c:v>
                </c:pt>
                <c:pt idx="654">
                  <c:v>42316</c:v>
                </c:pt>
                <c:pt idx="655">
                  <c:v>42317</c:v>
                </c:pt>
                <c:pt idx="656">
                  <c:v>42318</c:v>
                </c:pt>
                <c:pt idx="657">
                  <c:v>42319</c:v>
                </c:pt>
                <c:pt idx="658">
                  <c:v>42320</c:v>
                </c:pt>
                <c:pt idx="659">
                  <c:v>42321</c:v>
                </c:pt>
                <c:pt idx="660">
                  <c:v>42322</c:v>
                </c:pt>
                <c:pt idx="661">
                  <c:v>42323</c:v>
                </c:pt>
                <c:pt idx="662">
                  <c:v>42324</c:v>
                </c:pt>
                <c:pt idx="663">
                  <c:v>42325</c:v>
                </c:pt>
                <c:pt idx="664">
                  <c:v>42326</c:v>
                </c:pt>
                <c:pt idx="665">
                  <c:v>42329</c:v>
                </c:pt>
                <c:pt idx="666">
                  <c:v>42330</c:v>
                </c:pt>
                <c:pt idx="667">
                  <c:v>42331</c:v>
                </c:pt>
                <c:pt idx="668">
                  <c:v>42332</c:v>
                </c:pt>
                <c:pt idx="669">
                  <c:v>42333</c:v>
                </c:pt>
                <c:pt idx="670">
                  <c:v>42334</c:v>
                </c:pt>
                <c:pt idx="671">
                  <c:v>42335</c:v>
                </c:pt>
                <c:pt idx="672">
                  <c:v>42336</c:v>
                </c:pt>
                <c:pt idx="673">
                  <c:v>42337</c:v>
                </c:pt>
                <c:pt idx="674">
                  <c:v>42338</c:v>
                </c:pt>
                <c:pt idx="675">
                  <c:v>42339</c:v>
                </c:pt>
                <c:pt idx="676">
                  <c:v>42340</c:v>
                </c:pt>
                <c:pt idx="677">
                  <c:v>42341</c:v>
                </c:pt>
                <c:pt idx="678">
                  <c:v>42342</c:v>
                </c:pt>
                <c:pt idx="679">
                  <c:v>42343</c:v>
                </c:pt>
                <c:pt idx="680">
                  <c:v>42344</c:v>
                </c:pt>
                <c:pt idx="681">
                  <c:v>42345</c:v>
                </c:pt>
                <c:pt idx="682">
                  <c:v>42346</c:v>
                </c:pt>
                <c:pt idx="683">
                  <c:v>42347</c:v>
                </c:pt>
                <c:pt idx="684">
                  <c:v>42348</c:v>
                </c:pt>
                <c:pt idx="685">
                  <c:v>42349</c:v>
                </c:pt>
                <c:pt idx="686">
                  <c:v>42350</c:v>
                </c:pt>
                <c:pt idx="687">
                  <c:v>42351</c:v>
                </c:pt>
                <c:pt idx="688">
                  <c:v>42352</c:v>
                </c:pt>
                <c:pt idx="689">
                  <c:v>42353</c:v>
                </c:pt>
                <c:pt idx="690">
                  <c:v>42354</c:v>
                </c:pt>
                <c:pt idx="691">
                  <c:v>42355</c:v>
                </c:pt>
                <c:pt idx="692">
                  <c:v>42356</c:v>
                </c:pt>
                <c:pt idx="693">
                  <c:v>42359</c:v>
                </c:pt>
                <c:pt idx="694">
                  <c:v>42360</c:v>
                </c:pt>
                <c:pt idx="695">
                  <c:v>42361</c:v>
                </c:pt>
                <c:pt idx="696">
                  <c:v>42362</c:v>
                </c:pt>
                <c:pt idx="697">
                  <c:v>42363</c:v>
                </c:pt>
                <c:pt idx="698">
                  <c:v>42364</c:v>
                </c:pt>
                <c:pt idx="699">
                  <c:v>42365</c:v>
                </c:pt>
                <c:pt idx="700">
                  <c:v>42366</c:v>
                </c:pt>
                <c:pt idx="701">
                  <c:v>42367</c:v>
                </c:pt>
                <c:pt idx="702">
                  <c:v>42368</c:v>
                </c:pt>
                <c:pt idx="703">
                  <c:v>42369</c:v>
                </c:pt>
              </c:numCache>
            </c:numRef>
          </c:cat>
          <c:val>
            <c:numRef>
              <c:f>'Network-Day'!$C$2:$C$705</c:f>
              <c:numCache>
                <c:formatCode>0.00%</c:formatCode>
                <c:ptCount val="704"/>
                <c:pt idx="0">
                  <c:v>0.99592758396429359</c:v>
                </c:pt>
                <c:pt idx="1">
                  <c:v>0.99511635244424068</c:v>
                </c:pt>
                <c:pt idx="2">
                  <c:v>0.99406351414001759</c:v>
                </c:pt>
                <c:pt idx="3">
                  <c:v>0.99425667561690556</c:v>
                </c:pt>
                <c:pt idx="4">
                  <c:v>0.99263893718126406</c:v>
                </c:pt>
                <c:pt idx="5">
                  <c:v>0.98790626770720169</c:v>
                </c:pt>
                <c:pt idx="6">
                  <c:v>0.9902465648020089</c:v>
                </c:pt>
                <c:pt idx="7">
                  <c:v>0.9944094888090268</c:v>
                </c:pt>
                <c:pt idx="8">
                  <c:v>0.99518910491673895</c:v>
                </c:pt>
                <c:pt idx="9">
                  <c:v>0.99400046843604162</c:v>
                </c:pt>
                <c:pt idx="10">
                  <c:v>0.99245752685051791</c:v>
                </c:pt>
                <c:pt idx="11">
                  <c:v>0.99603104234275952</c:v>
                </c:pt>
                <c:pt idx="12">
                  <c:v>0.99733611980380144</c:v>
                </c:pt>
                <c:pt idx="13">
                  <c:v>0.99530177104255557</c:v>
                </c:pt>
                <c:pt idx="14">
                  <c:v>0.99509223844833328</c:v>
                </c:pt>
                <c:pt idx="15">
                  <c:v>0.99691698217690339</c:v>
                </c:pt>
                <c:pt idx="16">
                  <c:v>0.99758414142585938</c:v>
                </c:pt>
                <c:pt idx="17">
                  <c:v>0.99722252807398426</c:v>
                </c:pt>
                <c:pt idx="18">
                  <c:v>0.99617972653634224</c:v>
                </c:pt>
                <c:pt idx="19">
                  <c:v>0.99862320030390872</c:v>
                </c:pt>
                <c:pt idx="20">
                  <c:v>0.99645418018853271</c:v>
                </c:pt>
                <c:pt idx="21">
                  <c:v>0.9940160588265553</c:v>
                </c:pt>
                <c:pt idx="22">
                  <c:v>0.9944361542522776</c:v>
                </c:pt>
                <c:pt idx="23">
                  <c:v>0.99418319875853367</c:v>
                </c:pt>
                <c:pt idx="24">
                  <c:v>0.99781375560192132</c:v>
                </c:pt>
                <c:pt idx="25">
                  <c:v>0.99752933762174367</c:v>
                </c:pt>
                <c:pt idx="26">
                  <c:v>0.99648340512801759</c:v>
                </c:pt>
                <c:pt idx="27">
                  <c:v>0.99448892172771874</c:v>
                </c:pt>
                <c:pt idx="28">
                  <c:v>0.99551412874111078</c:v>
                </c:pt>
                <c:pt idx="29">
                  <c:v>0.99638373770150679</c:v>
                </c:pt>
                <c:pt idx="30">
                  <c:v>0.99435920034259284</c:v>
                </c:pt>
                <c:pt idx="31">
                  <c:v>0.9952503316076905</c:v>
                </c:pt>
                <c:pt idx="32">
                  <c:v>0.9956679238783176</c:v>
                </c:pt>
                <c:pt idx="33">
                  <c:v>0.99695657388087344</c:v>
                </c:pt>
                <c:pt idx="34">
                  <c:v>0.99610325555041024</c:v>
                </c:pt>
                <c:pt idx="35">
                  <c:v>0.99440780662440842</c:v>
                </c:pt>
                <c:pt idx="36">
                  <c:v>0.99501792452218252</c:v>
                </c:pt>
                <c:pt idx="37">
                  <c:v>0.9938185590841444</c:v>
                </c:pt>
                <c:pt idx="38">
                  <c:v>0.9973036190310719</c:v>
                </c:pt>
                <c:pt idx="39">
                  <c:v>0.99664426705043474</c:v>
                </c:pt>
                <c:pt idx="40">
                  <c:v>0.99480987289445977</c:v>
                </c:pt>
                <c:pt idx="41">
                  <c:v>0.99431007894194046</c:v>
                </c:pt>
                <c:pt idx="42">
                  <c:v>0.99574041074283004</c:v>
                </c:pt>
                <c:pt idx="43">
                  <c:v>0.9956966819913905</c:v>
                </c:pt>
                <c:pt idx="44">
                  <c:v>0.99587429332148625</c:v>
                </c:pt>
                <c:pt idx="45">
                  <c:v>0.99370853294176953</c:v>
                </c:pt>
                <c:pt idx="46">
                  <c:v>0.99649349018696265</c:v>
                </c:pt>
                <c:pt idx="47">
                  <c:v>0.99786752916862032</c:v>
                </c:pt>
                <c:pt idx="48">
                  <c:v>0.9982905060396926</c:v>
                </c:pt>
                <c:pt idx="49">
                  <c:v>0.99606174019984151</c:v>
                </c:pt>
                <c:pt idx="50">
                  <c:v>0.99489699235044315</c:v>
                </c:pt>
                <c:pt idx="51">
                  <c:v>0.99670326424305966</c:v>
                </c:pt>
                <c:pt idx="52">
                  <c:v>0.99692555407458661</c:v>
                </c:pt>
                <c:pt idx="53">
                  <c:v>0.9957655710734018</c:v>
                </c:pt>
                <c:pt idx="54">
                  <c:v>0.99505415990573409</c:v>
                </c:pt>
                <c:pt idx="55">
                  <c:v>0.99434395604747761</c:v>
                </c:pt>
                <c:pt idx="56">
                  <c:v>0.99178973175188545</c:v>
                </c:pt>
                <c:pt idx="57">
                  <c:v>0.9925210957220304</c:v>
                </c:pt>
                <c:pt idx="58">
                  <c:v>0.99266854041106356</c:v>
                </c:pt>
                <c:pt idx="59">
                  <c:v>0.99716052065623506</c:v>
                </c:pt>
                <c:pt idx="60">
                  <c:v>0.98971662030594931</c:v>
                </c:pt>
                <c:pt idx="61">
                  <c:v>0.9974516110338989</c:v>
                </c:pt>
                <c:pt idx="62">
                  <c:v>0.99502227083654549</c:v>
                </c:pt>
                <c:pt idx="63">
                  <c:v>0.99577268615104042</c:v>
                </c:pt>
                <c:pt idx="64">
                  <c:v>0.99369601716634859</c:v>
                </c:pt>
                <c:pt idx="65">
                  <c:v>0.99413640344097021</c:v>
                </c:pt>
                <c:pt idx="66">
                  <c:v>0.99579505357235143</c:v>
                </c:pt>
                <c:pt idx="67">
                  <c:v>0.99491399126872582</c:v>
                </c:pt>
                <c:pt idx="68">
                  <c:v>0.99275966008603245</c:v>
                </c:pt>
                <c:pt idx="69">
                  <c:v>0.9927931186575939</c:v>
                </c:pt>
                <c:pt idx="70">
                  <c:v>0.99546473368360266</c:v>
                </c:pt>
                <c:pt idx="71">
                  <c:v>0.99324298633646457</c:v>
                </c:pt>
                <c:pt idx="72">
                  <c:v>0.99618058775049101</c:v>
                </c:pt>
                <c:pt idx="73">
                  <c:v>0.99665035189053153</c:v>
                </c:pt>
                <c:pt idx="74">
                  <c:v>0.99608605541388051</c:v>
                </c:pt>
                <c:pt idx="75">
                  <c:v>0.99665224334206359</c:v>
                </c:pt>
                <c:pt idx="76">
                  <c:v>0.99712298942724786</c:v>
                </c:pt>
                <c:pt idx="77">
                  <c:v>0.99831441881732785</c:v>
                </c:pt>
                <c:pt idx="78">
                  <c:v>0.99484682461500951</c:v>
                </c:pt>
                <c:pt idx="79">
                  <c:v>0.99784115347973934</c:v>
                </c:pt>
                <c:pt idx="80">
                  <c:v>0.99682789078195688</c:v>
                </c:pt>
                <c:pt idx="81">
                  <c:v>0.99742665997015956</c:v>
                </c:pt>
                <c:pt idx="82">
                  <c:v>0.997786655527234</c:v>
                </c:pt>
                <c:pt idx="83">
                  <c:v>0.99831769465051923</c:v>
                </c:pt>
                <c:pt idx="84">
                  <c:v>0.99829430504050654</c:v>
                </c:pt>
                <c:pt idx="85">
                  <c:v>0.99798418746459761</c:v>
                </c:pt>
                <c:pt idx="86">
                  <c:v>0.99737786051878541</c:v>
                </c:pt>
                <c:pt idx="87">
                  <c:v>0.99844444605418725</c:v>
                </c:pt>
                <c:pt idx="88">
                  <c:v>0.99581011274668352</c:v>
                </c:pt>
                <c:pt idx="89">
                  <c:v>0.99625657581262728</c:v>
                </c:pt>
                <c:pt idx="90">
                  <c:v>0.99723345824955367</c:v>
                </c:pt>
                <c:pt idx="91">
                  <c:v>0.99664128902030169</c:v>
                </c:pt>
                <c:pt idx="92">
                  <c:v>0.99502010572806054</c:v>
                </c:pt>
                <c:pt idx="93">
                  <c:v>0.99567601285224183</c:v>
                </c:pt>
                <c:pt idx="94">
                  <c:v>0.99604620615050177</c:v>
                </c:pt>
                <c:pt idx="95">
                  <c:v>0.99790403820894968</c:v>
                </c:pt>
                <c:pt idx="96">
                  <c:v>0.99879846945343498</c:v>
                </c:pt>
                <c:pt idx="97">
                  <c:v>0.99433065149642352</c:v>
                </c:pt>
                <c:pt idx="98">
                  <c:v>0.99793768190131693</c:v>
                </c:pt>
                <c:pt idx="99">
                  <c:v>0.99786132359756907</c:v>
                </c:pt>
                <c:pt idx="100">
                  <c:v>0.99906041537887913</c:v>
                </c:pt>
                <c:pt idx="101">
                  <c:v>0.99860424554423843</c:v>
                </c:pt>
                <c:pt idx="102">
                  <c:v>0.99803062058930869</c:v>
                </c:pt>
                <c:pt idx="103">
                  <c:v>0.99843750000004228</c:v>
                </c:pt>
                <c:pt idx="104">
                  <c:v>0.99853932448619787</c:v>
                </c:pt>
                <c:pt idx="105">
                  <c:v>0.99819241616445231</c:v>
                </c:pt>
                <c:pt idx="106">
                  <c:v>0.99958832354606952</c:v>
                </c:pt>
                <c:pt idx="107">
                  <c:v>0.99929072174573352</c:v>
                </c:pt>
                <c:pt idx="108">
                  <c:v>0.99944718906146379</c:v>
                </c:pt>
                <c:pt idx="109">
                  <c:v>0.9973220908669721</c:v>
                </c:pt>
                <c:pt idx="110">
                  <c:v>0.99876038286196689</c:v>
                </c:pt>
                <c:pt idx="111">
                  <c:v>0.99859933581874527</c:v>
                </c:pt>
                <c:pt idx="112">
                  <c:v>0.99893537030600599</c:v>
                </c:pt>
                <c:pt idx="113">
                  <c:v>0.99833722891879551</c:v>
                </c:pt>
                <c:pt idx="114">
                  <c:v>0.99851525073405156</c:v>
                </c:pt>
                <c:pt idx="115">
                  <c:v>0.99837930768039462</c:v>
                </c:pt>
                <c:pt idx="116">
                  <c:v>0.99867419705870164</c:v>
                </c:pt>
                <c:pt idx="117">
                  <c:v>0.99910430510485593</c:v>
                </c:pt>
                <c:pt idx="118">
                  <c:v>0.99769511731827343</c:v>
                </c:pt>
                <c:pt idx="119">
                  <c:v>0.99758547751508553</c:v>
                </c:pt>
                <c:pt idx="120">
                  <c:v>0.99928478983153168</c:v>
                </c:pt>
                <c:pt idx="121">
                  <c:v>0.99913749806828633</c:v>
                </c:pt>
                <c:pt idx="122">
                  <c:v>0.99922828774533956</c:v>
                </c:pt>
                <c:pt idx="123">
                  <c:v>0.99957695873899655</c:v>
                </c:pt>
                <c:pt idx="124">
                  <c:v>0.99954073945293931</c:v>
                </c:pt>
                <c:pt idx="125">
                  <c:v>0.99932294081287132</c:v>
                </c:pt>
                <c:pt idx="126">
                  <c:v>0.99791781763501952</c:v>
                </c:pt>
                <c:pt idx="127">
                  <c:v>0.99947071549987754</c:v>
                </c:pt>
                <c:pt idx="128">
                  <c:v>0.99885740225617936</c:v>
                </c:pt>
                <c:pt idx="129">
                  <c:v>0.99953204682426489</c:v>
                </c:pt>
                <c:pt idx="130">
                  <c:v>0.99931424818424275</c:v>
                </c:pt>
                <c:pt idx="131">
                  <c:v>0.99963114279090692</c:v>
                </c:pt>
                <c:pt idx="132">
                  <c:v>0.99924913395661996</c:v>
                </c:pt>
                <c:pt idx="133">
                  <c:v>0.99837839817391683</c:v>
                </c:pt>
                <c:pt idx="134">
                  <c:v>0.99774550236954684</c:v>
                </c:pt>
                <c:pt idx="135">
                  <c:v>0.99861264036981423</c:v>
                </c:pt>
                <c:pt idx="136">
                  <c:v>0.99898709144645093</c:v>
                </c:pt>
                <c:pt idx="137">
                  <c:v>0.99952086713802069</c:v>
                </c:pt>
                <c:pt idx="138">
                  <c:v>0.99939313378922201</c:v>
                </c:pt>
                <c:pt idx="139">
                  <c:v>0.99941372244116256</c:v>
                </c:pt>
                <c:pt idx="140">
                  <c:v>0.99969897748930514</c:v>
                </c:pt>
                <c:pt idx="141">
                  <c:v>0.99741721880955703</c:v>
                </c:pt>
                <c:pt idx="142">
                  <c:v>0.99854435494253946</c:v>
                </c:pt>
                <c:pt idx="143">
                  <c:v>0.99833813842531671</c:v>
                </c:pt>
                <c:pt idx="144">
                  <c:v>0.99869109134341161</c:v>
                </c:pt>
                <c:pt idx="145">
                  <c:v>0.99959173620776254</c:v>
                </c:pt>
                <c:pt idx="146">
                  <c:v>0.99934333629522609</c:v>
                </c:pt>
                <c:pt idx="147">
                  <c:v>0.99818082599292146</c:v>
                </c:pt>
                <c:pt idx="148">
                  <c:v>0.99846031815019654</c:v>
                </c:pt>
                <c:pt idx="149">
                  <c:v>0.99824760630759368</c:v>
                </c:pt>
                <c:pt idx="150">
                  <c:v>0.99863422706432925</c:v>
                </c:pt>
                <c:pt idx="151">
                  <c:v>0.99935312355120931</c:v>
                </c:pt>
                <c:pt idx="152">
                  <c:v>0.99894304074583329</c:v>
                </c:pt>
                <c:pt idx="153">
                  <c:v>0.99914004951578461</c:v>
                </c:pt>
                <c:pt idx="154">
                  <c:v>0.99765225782986633</c:v>
                </c:pt>
                <c:pt idx="155">
                  <c:v>0.99832195242880406</c:v>
                </c:pt>
                <c:pt idx="156">
                  <c:v>0.99959746690366147</c:v>
                </c:pt>
                <c:pt idx="157">
                  <c:v>0.9991866194689315</c:v>
                </c:pt>
                <c:pt idx="158">
                  <c:v>0.99784358419617469</c:v>
                </c:pt>
                <c:pt idx="159">
                  <c:v>0.99938547139803602</c:v>
                </c:pt>
                <c:pt idx="160">
                  <c:v>0.9989059924406366</c:v>
                </c:pt>
                <c:pt idx="161">
                  <c:v>0.99838494984029547</c:v>
                </c:pt>
                <c:pt idx="162">
                  <c:v>0.99856111239893453</c:v>
                </c:pt>
                <c:pt idx="163">
                  <c:v>0.99786807648223896</c:v>
                </c:pt>
                <c:pt idx="164">
                  <c:v>0.99867034976569047</c:v>
                </c:pt>
                <c:pt idx="165">
                  <c:v>0.99939133892236032</c:v>
                </c:pt>
                <c:pt idx="166">
                  <c:v>0.99880071504922396</c:v>
                </c:pt>
                <c:pt idx="167">
                  <c:v>0.99900166769694454</c:v>
                </c:pt>
                <c:pt idx="168">
                  <c:v>0.99966919718746627</c:v>
                </c:pt>
                <c:pt idx="169">
                  <c:v>0.99945189756859765</c:v>
                </c:pt>
                <c:pt idx="170">
                  <c:v>0.99886471855201098</c:v>
                </c:pt>
                <c:pt idx="171">
                  <c:v>0.99829684843925237</c:v>
                </c:pt>
                <c:pt idx="172">
                  <c:v>0.99920767494718787</c:v>
                </c:pt>
                <c:pt idx="173">
                  <c:v>0.99888808401586759</c:v>
                </c:pt>
                <c:pt idx="174">
                  <c:v>0.99876988036367098</c:v>
                </c:pt>
                <c:pt idx="175">
                  <c:v>0.99962766573948403</c:v>
                </c:pt>
                <c:pt idx="176">
                  <c:v>0.99949626216965626</c:v>
                </c:pt>
                <c:pt idx="177">
                  <c:v>0.99919532819501444</c:v>
                </c:pt>
                <c:pt idx="178">
                  <c:v>0.99866798343888585</c:v>
                </c:pt>
                <c:pt idx="179">
                  <c:v>0.99907165945498577</c:v>
                </c:pt>
                <c:pt idx="180">
                  <c:v>0.99960139468397691</c:v>
                </c:pt>
                <c:pt idx="181">
                  <c:v>0.99844106558749368</c:v>
                </c:pt>
                <c:pt idx="182">
                  <c:v>0.99922985724771751</c:v>
                </c:pt>
                <c:pt idx="183">
                  <c:v>0.99926590751038502</c:v>
                </c:pt>
                <c:pt idx="184">
                  <c:v>0.99943517230721113</c:v>
                </c:pt>
                <c:pt idx="185">
                  <c:v>0.99845050674806179</c:v>
                </c:pt>
                <c:pt idx="186">
                  <c:v>0.99886873486841821</c:v>
                </c:pt>
                <c:pt idx="187">
                  <c:v>0.99931286380260576</c:v>
                </c:pt>
                <c:pt idx="188">
                  <c:v>0.99929095515892452</c:v>
                </c:pt>
                <c:pt idx="189">
                  <c:v>0.9990839176711277</c:v>
                </c:pt>
                <c:pt idx="190">
                  <c:v>0.99940136764022658</c:v>
                </c:pt>
                <c:pt idx="191">
                  <c:v>0.99834325741772689</c:v>
                </c:pt>
                <c:pt idx="192">
                  <c:v>0.99913777977385931</c:v>
                </c:pt>
                <c:pt idx="193">
                  <c:v>0.99783139841862833</c:v>
                </c:pt>
                <c:pt idx="194">
                  <c:v>0.99882083687472722</c:v>
                </c:pt>
                <c:pt idx="195">
                  <c:v>0.99834085889604252</c:v>
                </c:pt>
                <c:pt idx="196">
                  <c:v>0.9986038350589902</c:v>
                </c:pt>
                <c:pt idx="197">
                  <c:v>0.99978970277646073</c:v>
                </c:pt>
                <c:pt idx="198">
                  <c:v>0.9990187953948807</c:v>
                </c:pt>
                <c:pt idx="199">
                  <c:v>0.99920596861636757</c:v>
                </c:pt>
                <c:pt idx="200">
                  <c:v>0.99922992968622537</c:v>
                </c:pt>
                <c:pt idx="201">
                  <c:v>0.9995899976819802</c:v>
                </c:pt>
                <c:pt idx="202">
                  <c:v>0.9992010588909942</c:v>
                </c:pt>
                <c:pt idx="203">
                  <c:v>0.99910486851597602</c:v>
                </c:pt>
                <c:pt idx="204">
                  <c:v>0.99839786805234798</c:v>
                </c:pt>
                <c:pt idx="205">
                  <c:v>0.99864459382892889</c:v>
                </c:pt>
                <c:pt idx="206">
                  <c:v>0.99964736903104856</c:v>
                </c:pt>
                <c:pt idx="207">
                  <c:v>0.99921235125944263</c:v>
                </c:pt>
                <c:pt idx="208">
                  <c:v>0.99927568671767697</c:v>
                </c:pt>
                <c:pt idx="209">
                  <c:v>0.99741788685417099</c:v>
                </c:pt>
                <c:pt idx="210">
                  <c:v>0.99849620743835676</c:v>
                </c:pt>
                <c:pt idx="211">
                  <c:v>0.99697479620622842</c:v>
                </c:pt>
                <c:pt idx="212">
                  <c:v>0.99668956557501198</c:v>
                </c:pt>
                <c:pt idx="213">
                  <c:v>0.99770547486422623</c:v>
                </c:pt>
                <c:pt idx="214">
                  <c:v>0.99952758150144339</c:v>
                </c:pt>
                <c:pt idx="215">
                  <c:v>0.99945642353321118</c:v>
                </c:pt>
                <c:pt idx="216">
                  <c:v>0.99865795261948975</c:v>
                </c:pt>
                <c:pt idx="217">
                  <c:v>0.999072874607426</c:v>
                </c:pt>
                <c:pt idx="218">
                  <c:v>0.99891111796520282</c:v>
                </c:pt>
                <c:pt idx="219">
                  <c:v>0.99937644870644637</c:v>
                </c:pt>
                <c:pt idx="220">
                  <c:v>0.99894227294253402</c:v>
                </c:pt>
                <c:pt idx="221">
                  <c:v>0.99982022020334504</c:v>
                </c:pt>
                <c:pt idx="222">
                  <c:v>0.99943232515825675</c:v>
                </c:pt>
                <c:pt idx="223">
                  <c:v>0.99918986154725709</c:v>
                </c:pt>
                <c:pt idx="224">
                  <c:v>0.99895004610936589</c:v>
                </c:pt>
                <c:pt idx="225">
                  <c:v>0.99907941715268622</c:v>
                </c:pt>
                <c:pt idx="226">
                  <c:v>0.99802258580084569</c:v>
                </c:pt>
                <c:pt idx="227">
                  <c:v>0.9972398559393767</c:v>
                </c:pt>
                <c:pt idx="228">
                  <c:v>0.99763894341006953</c:v>
                </c:pt>
                <c:pt idx="229">
                  <c:v>0.99924721786050852</c:v>
                </c:pt>
                <c:pt idx="230">
                  <c:v>0.99919057811173151</c:v>
                </c:pt>
                <c:pt idx="231">
                  <c:v>0.99955854176012537</c:v>
                </c:pt>
                <c:pt idx="232">
                  <c:v>0.9994607540750865</c:v>
                </c:pt>
                <c:pt idx="233">
                  <c:v>0.99862389244054484</c:v>
                </c:pt>
                <c:pt idx="234">
                  <c:v>0.99818291710286766</c:v>
                </c:pt>
                <c:pt idx="235">
                  <c:v>0.99852896322470619</c:v>
                </c:pt>
                <c:pt idx="236">
                  <c:v>0.99786927994622943</c:v>
                </c:pt>
                <c:pt idx="237">
                  <c:v>0.99826563356765863</c:v>
                </c:pt>
                <c:pt idx="238">
                  <c:v>0.9985092343352705</c:v>
                </c:pt>
                <c:pt idx="239">
                  <c:v>0.99864921364838033</c:v>
                </c:pt>
                <c:pt idx="240">
                  <c:v>0.99873944625145461</c:v>
                </c:pt>
                <c:pt idx="241">
                  <c:v>0.99777749738298105</c:v>
                </c:pt>
                <c:pt idx="242">
                  <c:v>0.99751664454668532</c:v>
                </c:pt>
                <c:pt idx="243">
                  <c:v>0.99945874183006123</c:v>
                </c:pt>
                <c:pt idx="244">
                  <c:v>0.99911054478612349</c:v>
                </c:pt>
                <c:pt idx="245">
                  <c:v>0.99901448616065369</c:v>
                </c:pt>
                <c:pt idx="246">
                  <c:v>0.99933172100905787</c:v>
                </c:pt>
                <c:pt idx="247">
                  <c:v>0.99933990641711035</c:v>
                </c:pt>
                <c:pt idx="248">
                  <c:v>0.99980039364229678</c:v>
                </c:pt>
                <c:pt idx="249">
                  <c:v>0.99890912804513254</c:v>
                </c:pt>
                <c:pt idx="250">
                  <c:v>0.9990002661418117</c:v>
                </c:pt>
                <c:pt idx="251">
                  <c:v>0.99905860071299801</c:v>
                </c:pt>
                <c:pt idx="252">
                  <c:v>0.99965297893148597</c:v>
                </c:pt>
                <c:pt idx="253">
                  <c:v>0.99643682536143996</c:v>
                </c:pt>
                <c:pt idx="254">
                  <c:v>0.99861239540005897</c:v>
                </c:pt>
                <c:pt idx="255">
                  <c:v>0.99879198696526339</c:v>
                </c:pt>
                <c:pt idx="256">
                  <c:v>0.99900781714204345</c:v>
                </c:pt>
                <c:pt idx="257">
                  <c:v>0.99934278446225433</c:v>
                </c:pt>
                <c:pt idx="258">
                  <c:v>0.99831123737374794</c:v>
                </c:pt>
                <c:pt idx="259">
                  <c:v>0.99961607496535509</c:v>
                </c:pt>
                <c:pt idx="260">
                  <c:v>0.99957346132899072</c:v>
                </c:pt>
                <c:pt idx="261">
                  <c:v>0.9981046525301801</c:v>
                </c:pt>
                <c:pt idx="262">
                  <c:v>0.99860745166119724</c:v>
                </c:pt>
                <c:pt idx="263">
                  <c:v>0.9989154643865289</c:v>
                </c:pt>
                <c:pt idx="264">
                  <c:v>0.9992270205114967</c:v>
                </c:pt>
                <c:pt idx="265">
                  <c:v>0.99908891302733183</c:v>
                </c:pt>
                <c:pt idx="266">
                  <c:v>0.99932184900473731</c:v>
                </c:pt>
                <c:pt idx="267">
                  <c:v>0.99861757897602987</c:v>
                </c:pt>
                <c:pt idx="268">
                  <c:v>0.99928743624977556</c:v>
                </c:pt>
                <c:pt idx="269">
                  <c:v>0.99923365084669546</c:v>
                </c:pt>
                <c:pt idx="270">
                  <c:v>0.99759124641022834</c:v>
                </c:pt>
                <c:pt idx="271">
                  <c:v>0.99701303011733911</c:v>
                </c:pt>
                <c:pt idx="272">
                  <c:v>0.99739042539362155</c:v>
                </c:pt>
                <c:pt idx="273">
                  <c:v>0.9962081136116292</c:v>
                </c:pt>
                <c:pt idx="274">
                  <c:v>0.9986824123588548</c:v>
                </c:pt>
                <c:pt idx="275">
                  <c:v>0.99800707751534568</c:v>
                </c:pt>
                <c:pt idx="276">
                  <c:v>0.99662482669829522</c:v>
                </c:pt>
                <c:pt idx="277">
                  <c:v>0.99764648630919917</c:v>
                </c:pt>
                <c:pt idx="278">
                  <c:v>0.99926600564465107</c:v>
                </c:pt>
                <c:pt idx="279">
                  <c:v>0.99834690347091826</c:v>
                </c:pt>
                <c:pt idx="280">
                  <c:v>0.99893029560305213</c:v>
                </c:pt>
                <c:pt idx="281">
                  <c:v>0.99870602470782888</c:v>
                </c:pt>
                <c:pt idx="282">
                  <c:v>0.9977023296691927</c:v>
                </c:pt>
                <c:pt idx="283">
                  <c:v>0.99886507538618374</c:v>
                </c:pt>
                <c:pt idx="284">
                  <c:v>0.99612361358686541</c:v>
                </c:pt>
                <c:pt idx="285">
                  <c:v>0.99859054701429317</c:v>
                </c:pt>
                <c:pt idx="286">
                  <c:v>0.99727591478512034</c:v>
                </c:pt>
                <c:pt idx="287">
                  <c:v>0.99794266191321668</c:v>
                </c:pt>
                <c:pt idx="288">
                  <c:v>0.99562066745878652</c:v>
                </c:pt>
                <c:pt idx="289">
                  <c:v>0.99664747969887391</c:v>
                </c:pt>
                <c:pt idx="290">
                  <c:v>0.99845473732422863</c:v>
                </c:pt>
                <c:pt idx="291">
                  <c:v>0.99596084930188244</c:v>
                </c:pt>
                <c:pt idx="292">
                  <c:v>0.99773836712714437</c:v>
                </c:pt>
                <c:pt idx="293">
                  <c:v>0.99792963334319285</c:v>
                </c:pt>
                <c:pt idx="294">
                  <c:v>0.99751637081598388</c:v>
                </c:pt>
                <c:pt idx="295">
                  <c:v>0.99884276279955042</c:v>
                </c:pt>
                <c:pt idx="296">
                  <c:v>0.99940427559911593</c:v>
                </c:pt>
                <c:pt idx="297">
                  <c:v>0.9995554658100716</c:v>
                </c:pt>
                <c:pt idx="298">
                  <c:v>0.99761923772027383</c:v>
                </c:pt>
                <c:pt idx="299">
                  <c:v>0.99870944432063513</c:v>
                </c:pt>
                <c:pt idx="300">
                  <c:v>0.99812585103486762</c:v>
                </c:pt>
                <c:pt idx="301">
                  <c:v>0.99905627970883137</c:v>
                </c:pt>
                <c:pt idx="302">
                  <c:v>0.99888847110819901</c:v>
                </c:pt>
                <c:pt idx="303">
                  <c:v>0.99902729810356838</c:v>
                </c:pt>
                <c:pt idx="304">
                  <c:v>0.9979943738858823</c:v>
                </c:pt>
                <c:pt idx="305">
                  <c:v>0.99803383095664944</c:v>
                </c:pt>
                <c:pt idx="306">
                  <c:v>0.99757628367003237</c:v>
                </c:pt>
                <c:pt idx="307">
                  <c:v>0.99687094597938608</c:v>
                </c:pt>
                <c:pt idx="308">
                  <c:v>0.99641452824817633</c:v>
                </c:pt>
                <c:pt idx="309">
                  <c:v>0.99729089299871532</c:v>
                </c:pt>
                <c:pt idx="310">
                  <c:v>0.99869692637159668</c:v>
                </c:pt>
                <c:pt idx="311">
                  <c:v>0.99851678550200884</c:v>
                </c:pt>
                <c:pt idx="312">
                  <c:v>0.99784808873051778</c:v>
                </c:pt>
                <c:pt idx="313">
                  <c:v>0.99713088297192509</c:v>
                </c:pt>
                <c:pt idx="314">
                  <c:v>0.99881480243622944</c:v>
                </c:pt>
                <c:pt idx="315">
                  <c:v>0.9980403761882749</c:v>
                </c:pt>
                <c:pt idx="316">
                  <c:v>0.9963958983214416</c:v>
                </c:pt>
                <c:pt idx="317">
                  <c:v>0.99528286851365533</c:v>
                </c:pt>
                <c:pt idx="318">
                  <c:v>0.99777488425929439</c:v>
                </c:pt>
                <c:pt idx="319">
                  <c:v>0.99867334496936055</c:v>
                </c:pt>
                <c:pt idx="320">
                  <c:v>0.99749334645472154</c:v>
                </c:pt>
                <c:pt idx="321">
                  <c:v>0.99695123724998891</c:v>
                </c:pt>
                <c:pt idx="322">
                  <c:v>0.99761148556635959</c:v>
                </c:pt>
                <c:pt idx="323">
                  <c:v>0.99862109142905853</c:v>
                </c:pt>
                <c:pt idx="324">
                  <c:v>0.99816451896419212</c:v>
                </c:pt>
                <c:pt idx="325">
                  <c:v>0.9990957677262795</c:v>
                </c:pt>
                <c:pt idx="326">
                  <c:v>0.99858732855513044</c:v>
                </c:pt>
                <c:pt idx="327">
                  <c:v>0.99553731246293997</c:v>
                </c:pt>
                <c:pt idx="328">
                  <c:v>0.99694238648746403</c:v>
                </c:pt>
                <c:pt idx="329">
                  <c:v>0.99808066882051083</c:v>
                </c:pt>
                <c:pt idx="330">
                  <c:v>0.9965662909734111</c:v>
                </c:pt>
                <c:pt idx="331">
                  <c:v>0.99418664277586399</c:v>
                </c:pt>
                <c:pt idx="332">
                  <c:v>0.99600573752226129</c:v>
                </c:pt>
                <c:pt idx="333" formatCode="0.000%">
                  <c:v>0.99869171184884764</c:v>
                </c:pt>
                <c:pt idx="334" formatCode="0.000%">
                  <c:v>0.99834891500791778</c:v>
                </c:pt>
                <c:pt idx="335" formatCode="0.000%">
                  <c:v>0.99819017379683739</c:v>
                </c:pt>
                <c:pt idx="336" formatCode="0.000%">
                  <c:v>0.99799313601698991</c:v>
                </c:pt>
                <c:pt idx="337" formatCode="0.000%">
                  <c:v>0.99830481592881681</c:v>
                </c:pt>
                <c:pt idx="338" formatCode="0.000%">
                  <c:v>0.99795408125377205</c:v>
                </c:pt>
                <c:pt idx="339" formatCode="0.000%">
                  <c:v>0.99884107620319007</c:v>
                </c:pt>
                <c:pt idx="340" formatCode="0.000%">
                  <c:v>0.99755949507330532</c:v>
                </c:pt>
                <c:pt idx="341" formatCode="0.000%">
                  <c:v>0.99867896179939686</c:v>
                </c:pt>
                <c:pt idx="342" formatCode="0.000%">
                  <c:v>0.99816061967720737</c:v>
                </c:pt>
                <c:pt idx="343" formatCode="0.000%">
                  <c:v>0.99844331798390717</c:v>
                </c:pt>
                <c:pt idx="344" formatCode="0.000%">
                  <c:v>0.9979993253614412</c:v>
                </c:pt>
                <c:pt idx="345" formatCode="0.000%">
                  <c:v>0.99777641612196932</c:v>
                </c:pt>
                <c:pt idx="346" formatCode="0.000%">
                  <c:v>0.99828369479104928</c:v>
                </c:pt>
                <c:pt idx="347" formatCode="0.000%">
                  <c:v>0.99741314802434555</c:v>
                </c:pt>
                <c:pt idx="348" formatCode="0.000%">
                  <c:v>0.9975726010100654</c:v>
                </c:pt>
                <c:pt idx="349" formatCode="0.000%">
                  <c:v>0.99911724475145347</c:v>
                </c:pt>
                <c:pt idx="350" formatCode="0.000%">
                  <c:v>0.99695258343241389</c:v>
                </c:pt>
                <c:pt idx="351" formatCode="0.000%">
                  <c:v>0.9977320230490756</c:v>
                </c:pt>
                <c:pt idx="352" formatCode="0.000%">
                  <c:v>0.99757736680529707</c:v>
                </c:pt>
                <c:pt idx="353" formatCode="0.000%">
                  <c:v>0.99773162074177868</c:v>
                </c:pt>
                <c:pt idx="354" formatCode="0.000%">
                  <c:v>0.99744260930383655</c:v>
                </c:pt>
                <c:pt idx="355" formatCode="0.000%">
                  <c:v>0.99725631003663429</c:v>
                </c:pt>
                <c:pt idx="356" formatCode="0.000%">
                  <c:v>0.9977756115072105</c:v>
                </c:pt>
                <c:pt idx="357" formatCode="0.000%">
                  <c:v>0.99840016277977883</c:v>
                </c:pt>
                <c:pt idx="358" formatCode="0.000%">
                  <c:v>0.9983120729352456</c:v>
                </c:pt>
                <c:pt idx="359" formatCode="0.000%">
                  <c:v>0.99794427114279349</c:v>
                </c:pt>
                <c:pt idx="360" formatCode="0.000%">
                  <c:v>0.99742642416811789</c:v>
                </c:pt>
                <c:pt idx="361">
                  <c:v>0.99940682870369457</c:v>
                </c:pt>
                <c:pt idx="362" formatCode="0.000%">
                  <c:v>0.99908654560309051</c:v>
                </c:pt>
                <c:pt idx="363" formatCode="0.000%">
                  <c:v>1</c:v>
                </c:pt>
                <c:pt idx="364" formatCode="0.000%">
                  <c:v>0.99932757414838935</c:v>
                </c:pt>
                <c:pt idx="365" formatCode="0.000%">
                  <c:v>0.9986978702466085</c:v>
                </c:pt>
                <c:pt idx="366" formatCode="0.000%">
                  <c:v>0.99944996843435108</c:v>
                </c:pt>
                <c:pt idx="367" formatCode="0.000%">
                  <c:v>0.99884349004752493</c:v>
                </c:pt>
                <c:pt idx="368" formatCode="0.000%">
                  <c:v>0.99960840017824504</c:v>
                </c:pt>
                <c:pt idx="369" formatCode="0.000%">
                  <c:v>0.99923942241038821</c:v>
                </c:pt>
                <c:pt idx="370" formatCode="0.000%">
                  <c:v>0.99816377624280417</c:v>
                </c:pt>
                <c:pt idx="371" formatCode="0.000%">
                  <c:v>0.9992061546841009</c:v>
                </c:pt>
                <c:pt idx="372" formatCode="0.000%">
                  <c:v>0.99893551012579151</c:v>
                </c:pt>
                <c:pt idx="373" formatCode="0.000%">
                  <c:v>0.9993029560308857</c:v>
                </c:pt>
                <c:pt idx="374" formatCode="0.000%">
                  <c:v>0.99923795244105451</c:v>
                </c:pt>
                <c:pt idx="375" formatCode="0.000%">
                  <c:v>0.99930095996732826</c:v>
                </c:pt>
                <c:pt idx="376" formatCode="0.000%">
                  <c:v>0.99800095006439193</c:v>
                </c:pt>
                <c:pt idx="377" formatCode="0.000%">
                  <c:v>0.99881152208358892</c:v>
                </c:pt>
                <c:pt idx="378" formatCode="0.000%">
                  <c:v>0.99950168040702581</c:v>
                </c:pt>
                <c:pt idx="379" formatCode="0.000%">
                  <c:v>0.99930147058824614</c:v>
                </c:pt>
                <c:pt idx="380" formatCode="0.000%">
                  <c:v>0.999392933625462</c:v>
                </c:pt>
                <c:pt idx="381" formatCode="0.000%">
                  <c:v>0.99935243983958189</c:v>
                </c:pt>
                <c:pt idx="382" formatCode="0.000%">
                  <c:v>0.99986290602100758</c:v>
                </c:pt>
                <c:pt idx="383" formatCode="0.000%">
                  <c:v>0.99998262341552213</c:v>
                </c:pt>
                <c:pt idx="384" formatCode="0.000%">
                  <c:v>0.9997922391810371</c:v>
                </c:pt>
                <c:pt idx="385" formatCode="0.000%">
                  <c:v>0.99930934652904868</c:v>
                </c:pt>
                <c:pt idx="386" formatCode="0.000%">
                  <c:v>0.99840712579218183</c:v>
                </c:pt>
                <c:pt idx="387" formatCode="0.000%">
                  <c:v>0.99964921890473502</c:v>
                </c:pt>
                <c:pt idx="388" formatCode="0.000%">
                  <c:v>0.99912024658349186</c:v>
                </c:pt>
                <c:pt idx="389" formatCode="0.000%">
                  <c:v>0.99950615220836758</c:v>
                </c:pt>
                <c:pt idx="390">
                  <c:v>0.9983874591503249</c:v>
                </c:pt>
                <c:pt idx="391" formatCode="0.000%">
                  <c:v>0.99784977532683972</c:v>
                </c:pt>
                <c:pt idx="392" formatCode="0.000%">
                  <c:v>0.99901451710736844</c:v>
                </c:pt>
                <c:pt idx="393" formatCode="0.000%">
                  <c:v>0.99946980528322926</c:v>
                </c:pt>
                <c:pt idx="394" formatCode="0.000%">
                  <c:v>0.99989475019806562</c:v>
                </c:pt>
                <c:pt idx="395" formatCode="0.000%">
                  <c:v>0.99913409524163943</c:v>
                </c:pt>
                <c:pt idx="396" formatCode="0.000%">
                  <c:v>0.99838117696571471</c:v>
                </c:pt>
                <c:pt idx="397" formatCode="0.000%">
                  <c:v>0.99889029696476395</c:v>
                </c:pt>
                <c:pt idx="398" formatCode="0.000%">
                  <c:v>0.99932078134283209</c:v>
                </c:pt>
                <c:pt idx="399" formatCode="0.000%">
                  <c:v>0.9989587356406977</c:v>
                </c:pt>
                <c:pt idx="400" formatCode="0.000%">
                  <c:v>0.99973071709745143</c:v>
                </c:pt>
                <c:pt idx="401" formatCode="0.000%">
                  <c:v>0.99965845650133733</c:v>
                </c:pt>
                <c:pt idx="402" formatCode="0.000%">
                  <c:v>0.99808579050303303</c:v>
                </c:pt>
                <c:pt idx="403" formatCode="0.000%">
                  <c:v>0.99784016636960182</c:v>
                </c:pt>
                <c:pt idx="404" formatCode="0.000%">
                  <c:v>0.99960293808179745</c:v>
                </c:pt>
                <c:pt idx="405" formatCode="0.000%">
                  <c:v>0.99931313750246087</c:v>
                </c:pt>
                <c:pt idx="406" formatCode="0.000%">
                  <c:v>0.99970170454544904</c:v>
                </c:pt>
                <c:pt idx="407" formatCode="0.000%">
                  <c:v>0.9997047837442905</c:v>
                </c:pt>
                <c:pt idx="408" formatCode="0.000%">
                  <c:v>0.99760424403348003</c:v>
                </c:pt>
                <c:pt idx="409" formatCode="0.000%">
                  <c:v>0.99683074618734713</c:v>
                </c:pt>
                <c:pt idx="410" formatCode="0.000%">
                  <c:v>0.99920850663496763</c:v>
                </c:pt>
                <c:pt idx="411" formatCode="0.000%">
                  <c:v>0.99880199049313545</c:v>
                </c:pt>
                <c:pt idx="412" formatCode="0.000%">
                  <c:v>0.99868136017028952</c:v>
                </c:pt>
                <c:pt idx="413" formatCode="0.000%">
                  <c:v>0.99941933117946569</c:v>
                </c:pt>
                <c:pt idx="414" formatCode="0.000%">
                  <c:v>0.99946050579321633</c:v>
                </c:pt>
                <c:pt idx="415" formatCode="0.000%">
                  <c:v>0.99901204136958432</c:v>
                </c:pt>
                <c:pt idx="416">
                  <c:v>0.99804731926518275</c:v>
                </c:pt>
                <c:pt idx="417" formatCode="0.000%">
                  <c:v>0.99652297198735273</c:v>
                </c:pt>
                <c:pt idx="418" formatCode="0.000%">
                  <c:v>0.99951589774020266</c:v>
                </c:pt>
                <c:pt idx="419" formatCode="0.000%">
                  <c:v>0.99937581899318484</c:v>
                </c:pt>
                <c:pt idx="420" formatCode="0.000%">
                  <c:v>0.99949176061908551</c:v>
                </c:pt>
                <c:pt idx="421" formatCode="0.000%">
                  <c:v>0.99883834309944153</c:v>
                </c:pt>
                <c:pt idx="422" formatCode="0.000%">
                  <c:v>0.99908215583744264</c:v>
                </c:pt>
                <c:pt idx="423" formatCode="0.000%">
                  <c:v>0.99972168137763517</c:v>
                </c:pt>
                <c:pt idx="424" formatCode="0.000%">
                  <c:v>0.99912038582308316</c:v>
                </c:pt>
                <c:pt idx="425" formatCode="0.000%">
                  <c:v>0.99769847450923588</c:v>
                </c:pt>
                <c:pt idx="426" formatCode="0.000%">
                  <c:v>0.99899450810954882</c:v>
                </c:pt>
                <c:pt idx="427" formatCode="0.000%">
                  <c:v>0.99924363657719373</c:v>
                </c:pt>
                <c:pt idx="428" formatCode="0.000%">
                  <c:v>0.99943919052565589</c:v>
                </c:pt>
                <c:pt idx="429" formatCode="0.000%">
                  <c:v>0.99981359405131132</c:v>
                </c:pt>
                <c:pt idx="430" formatCode="0.000%">
                  <c:v>0.99935531325714688</c:v>
                </c:pt>
                <c:pt idx="431" formatCode="0.000%">
                  <c:v>0.9995142597537281</c:v>
                </c:pt>
                <c:pt idx="432" formatCode="0.000%">
                  <c:v>0.99964882188595461</c:v>
                </c:pt>
                <c:pt idx="433" formatCode="0.000%">
                  <c:v>0.99963386367008222</c:v>
                </c:pt>
                <c:pt idx="434" formatCode="0.000%">
                  <c:v>0.99922010211148282</c:v>
                </c:pt>
                <c:pt idx="435" formatCode="0.000%">
                  <c:v>0.99933417396032886</c:v>
                </c:pt>
                <c:pt idx="436" formatCode="0.000%">
                  <c:v>0.99962652363648963</c:v>
                </c:pt>
                <c:pt idx="437" formatCode="0.000%">
                  <c:v>0.99984955248975582</c:v>
                </c:pt>
                <c:pt idx="438" formatCode="0.000%">
                  <c:v>0.99938675950652223</c:v>
                </c:pt>
                <c:pt idx="439" formatCode="0.000%">
                  <c:v>0.9991034496612915</c:v>
                </c:pt>
                <c:pt idx="440" formatCode="0.000%">
                  <c:v>0.99858303355089084</c:v>
                </c:pt>
                <c:pt idx="441" formatCode="0.000%">
                  <c:v>0.99982883041585369</c:v>
                </c:pt>
                <c:pt idx="442" formatCode="0.000%">
                  <c:v>0.99917065346385581</c:v>
                </c:pt>
                <c:pt idx="443" formatCode="0.000%">
                  <c:v>0.99850295764722696</c:v>
                </c:pt>
                <c:pt idx="444" formatCode="0.000%">
                  <c:v>0.99869117156209763</c:v>
                </c:pt>
                <c:pt idx="445">
                  <c:v>0.99930686130890456</c:v>
                </c:pt>
                <c:pt idx="446">
                  <c:v>0.99979339736933548</c:v>
                </c:pt>
                <c:pt idx="447">
                  <c:v>0.99953641120261261</c:v>
                </c:pt>
                <c:pt idx="448">
                  <c:v>0.99983899829402823</c:v>
                </c:pt>
                <c:pt idx="449">
                  <c:v>0.99871604268655489</c:v>
                </c:pt>
                <c:pt idx="450">
                  <c:v>0.99941988237403567</c:v>
                </c:pt>
                <c:pt idx="451">
                  <c:v>0.99936541932453182</c:v>
                </c:pt>
                <c:pt idx="452">
                  <c:v>0.99870416728477251</c:v>
                </c:pt>
                <c:pt idx="453">
                  <c:v>0.99820053280915999</c:v>
                </c:pt>
                <c:pt idx="454">
                  <c:v>0.9997706896232198</c:v>
                </c:pt>
                <c:pt idx="455">
                  <c:v>0.99905236302724265</c:v>
                </c:pt>
                <c:pt idx="456">
                  <c:v>0.9998771123844078</c:v>
                </c:pt>
                <c:pt idx="457">
                  <c:v>0.9995744093977118</c:v>
                </c:pt>
                <c:pt idx="458">
                  <c:v>0.99939527394550243</c:v>
                </c:pt>
                <c:pt idx="459">
                  <c:v>0.99906159601688904</c:v>
                </c:pt>
                <c:pt idx="460">
                  <c:v>0.99942957121839648</c:v>
                </c:pt>
                <c:pt idx="461">
                  <c:v>0.99940187997580821</c:v>
                </c:pt>
                <c:pt idx="462">
                  <c:v>0.99957031443160338</c:v>
                </c:pt>
                <c:pt idx="463">
                  <c:v>0.9990083537308827</c:v>
                </c:pt>
                <c:pt idx="464">
                  <c:v>0.99929134679572151</c:v>
                </c:pt>
                <c:pt idx="465">
                  <c:v>0.99938697584434755</c:v>
                </c:pt>
                <c:pt idx="466">
                  <c:v>0.99948398018344031</c:v>
                </c:pt>
                <c:pt idx="467">
                  <c:v>0.99989850665084989</c:v>
                </c:pt>
                <c:pt idx="468">
                  <c:v>0.9996148645724986</c:v>
                </c:pt>
                <c:pt idx="469">
                  <c:v>0.9998325390644337</c:v>
                </c:pt>
                <c:pt idx="470">
                  <c:v>0.99949031579144021</c:v>
                </c:pt>
                <c:pt idx="471">
                  <c:v>0.99809112767639974</c:v>
                </c:pt>
                <c:pt idx="472">
                  <c:v>0.99124663903729682</c:v>
                </c:pt>
                <c:pt idx="473">
                  <c:v>0.99915300647778305</c:v>
                </c:pt>
                <c:pt idx="474">
                  <c:v>0.99898430159968188</c:v>
                </c:pt>
                <c:pt idx="475">
                  <c:v>0.99979920758541474</c:v>
                </c:pt>
                <c:pt idx="476" formatCode="0.000%">
                  <c:v>0.9998411153142619</c:v>
                </c:pt>
                <c:pt idx="477" formatCode="0.000%">
                  <c:v>0.99877004215496679</c:v>
                </c:pt>
                <c:pt idx="478" formatCode="0.000%">
                  <c:v>0.9994812836868785</c:v>
                </c:pt>
                <c:pt idx="479" formatCode="0.000%">
                  <c:v>0.99917448573409351</c:v>
                </c:pt>
                <c:pt idx="480" formatCode="0.000%">
                  <c:v>0.9994379234040569</c:v>
                </c:pt>
                <c:pt idx="481" formatCode="0.000%">
                  <c:v>0.99953323567224295</c:v>
                </c:pt>
                <c:pt idx="482" formatCode="0.000%">
                  <c:v>0.99976337276861849</c:v>
                </c:pt>
                <c:pt idx="483" formatCode="0.000%">
                  <c:v>0.99979216115313851</c:v>
                </c:pt>
                <c:pt idx="484" formatCode="0.000%">
                  <c:v>0.99930130606242062</c:v>
                </c:pt>
                <c:pt idx="485" formatCode="0.000%">
                  <c:v>0.99970870110764187</c:v>
                </c:pt>
                <c:pt idx="486" formatCode="0.000%">
                  <c:v>0.9992470052662813</c:v>
                </c:pt>
                <c:pt idx="487" formatCode="0.000%">
                  <c:v>0.99985825236122161</c:v>
                </c:pt>
                <c:pt idx="488" formatCode="0.000%">
                  <c:v>0.99944441353904423</c:v>
                </c:pt>
                <c:pt idx="489" formatCode="0.000%">
                  <c:v>0.99943795430943971</c:v>
                </c:pt>
                <c:pt idx="490" formatCode="0.000%">
                  <c:v>0.99965824803442715</c:v>
                </c:pt>
                <c:pt idx="491" formatCode="0.000%">
                  <c:v>0.99974836819462753</c:v>
                </c:pt>
                <c:pt idx="492" formatCode="0.000%">
                  <c:v>0.99931791771744483</c:v>
                </c:pt>
                <c:pt idx="493" formatCode="0.000%">
                  <c:v>0.99960118120454844</c:v>
                </c:pt>
                <c:pt idx="494" formatCode="0.000%">
                  <c:v>0.99960828944764801</c:v>
                </c:pt>
                <c:pt idx="495" formatCode="0.000%">
                  <c:v>0.99935960910843813</c:v>
                </c:pt>
                <c:pt idx="496" formatCode="0.000%">
                  <c:v>0.99981563380801564</c:v>
                </c:pt>
                <c:pt idx="497" formatCode="0.000%">
                  <c:v>0.99988044244177432</c:v>
                </c:pt>
                <c:pt idx="498" formatCode="0.000%">
                  <c:v>0.99976151844434769</c:v>
                </c:pt>
                <c:pt idx="499" formatCode="0.000%">
                  <c:v>0.99994297952826827</c:v>
                </c:pt>
                <c:pt idx="500" formatCode="0.000%">
                  <c:v>0.99981311501754266</c:v>
                </c:pt>
                <c:pt idx="501" formatCode="0.000%">
                  <c:v>0.99974799732977182</c:v>
                </c:pt>
                <c:pt idx="502" formatCode="0.000%">
                  <c:v>0.99929687113682442</c:v>
                </c:pt>
                <c:pt idx="503" formatCode="0.000%">
                  <c:v>0.9993400923453597</c:v>
                </c:pt>
                <c:pt idx="504">
                  <c:v>0.99991917739680503</c:v>
                </c:pt>
                <c:pt idx="505" formatCode="0.000%">
                  <c:v>0.99984762309510244</c:v>
                </c:pt>
                <c:pt idx="506" formatCode="0.000%">
                  <c:v>0.99993218315971888</c:v>
                </c:pt>
                <c:pt idx="507" formatCode="0.000%">
                  <c:v>0.99992294499903267</c:v>
                </c:pt>
                <c:pt idx="508" formatCode="0.000%">
                  <c:v>0.99984670380015928</c:v>
                </c:pt>
                <c:pt idx="509" formatCode="0.000%">
                  <c:v>0.99971078378182643</c:v>
                </c:pt>
                <c:pt idx="510" formatCode="0.000%">
                  <c:v>0.99921468098959088</c:v>
                </c:pt>
                <c:pt idx="511" formatCode="0.000%">
                  <c:v>0.99965423960746114</c:v>
                </c:pt>
                <c:pt idx="512" formatCode="0.000%">
                  <c:v>0.99956315405573992</c:v>
                </c:pt>
                <c:pt idx="513" formatCode="0.000%">
                  <c:v>0.99989851586613554</c:v>
                </c:pt>
                <c:pt idx="514" formatCode="0.000%">
                  <c:v>0.99988284264082028</c:v>
                </c:pt>
                <c:pt idx="515" formatCode="0.000%">
                  <c:v>0.99978233808352945</c:v>
                </c:pt>
                <c:pt idx="516" formatCode="0.000%">
                  <c:v>0.99961159035011848</c:v>
                </c:pt>
                <c:pt idx="517" formatCode="0.000%">
                  <c:v>0.99968379267941543</c:v>
                </c:pt>
                <c:pt idx="518" formatCode="0.000%">
                  <c:v>0.99974574713060849</c:v>
                </c:pt>
                <c:pt idx="519" formatCode="0.000%">
                  <c:v>0.99960816936726327</c:v>
                </c:pt>
                <c:pt idx="520" formatCode="0.000%">
                  <c:v>0.99980087468652368</c:v>
                </c:pt>
                <c:pt idx="521" formatCode="0.000%">
                  <c:v>0.99930412386670242</c:v>
                </c:pt>
                <c:pt idx="522" formatCode="0.000%">
                  <c:v>0.99856963734569604</c:v>
                </c:pt>
                <c:pt idx="523" formatCode="0.000%">
                  <c:v>0.99845088252314462</c:v>
                </c:pt>
                <c:pt idx="524" formatCode="0.000%">
                  <c:v>0.99908947603202591</c:v>
                </c:pt>
                <c:pt idx="525" formatCode="0.000%">
                  <c:v>0.99972924503279614</c:v>
                </c:pt>
                <c:pt idx="526" formatCode="0.000%">
                  <c:v>0.99806194540896798</c:v>
                </c:pt>
                <c:pt idx="527" formatCode="0.000%">
                  <c:v>0.99813874421297044</c:v>
                </c:pt>
                <c:pt idx="528" formatCode="0.000%">
                  <c:v>0.99905794873649256</c:v>
                </c:pt>
                <c:pt idx="529" formatCode="0.000%">
                  <c:v>0.99765918872969883</c:v>
                </c:pt>
                <c:pt idx="530" formatCode="0.000%">
                  <c:v>0.99827927577639253</c:v>
                </c:pt>
                <c:pt idx="531" formatCode="0.000%">
                  <c:v>0.99889136043596716</c:v>
                </c:pt>
                <c:pt idx="532">
                  <c:v>0.99328063211322615</c:v>
                </c:pt>
                <c:pt idx="533" formatCode="0.000%">
                  <c:v>0.9933989800347639</c:v>
                </c:pt>
                <c:pt idx="534" formatCode="0.000%">
                  <c:v>0.99391785421493251</c:v>
                </c:pt>
                <c:pt idx="535" formatCode="0.000%">
                  <c:v>0.99688750843942353</c:v>
                </c:pt>
                <c:pt idx="536" formatCode="0.000%">
                  <c:v>0.99473644868823852</c:v>
                </c:pt>
                <c:pt idx="537" formatCode="0.000%">
                  <c:v>0.99762056327161497</c:v>
                </c:pt>
                <c:pt idx="538" formatCode="0.000%">
                  <c:v>0.99819723247010983</c:v>
                </c:pt>
                <c:pt idx="539" formatCode="0.000%">
                  <c:v>0.99667189609857654</c:v>
                </c:pt>
                <c:pt idx="540" formatCode="0.000%">
                  <c:v>0.99627002857349134</c:v>
                </c:pt>
                <c:pt idx="541" formatCode="0.000%">
                  <c:v>0.99780609507617635</c:v>
                </c:pt>
                <c:pt idx="542" formatCode="0.000%">
                  <c:v>0.99857337480709862</c:v>
                </c:pt>
                <c:pt idx="543" formatCode="0.000%">
                  <c:v>0.99739812403548933</c:v>
                </c:pt>
                <c:pt idx="544" formatCode="0.000%">
                  <c:v>0.99540372118541598</c:v>
                </c:pt>
                <c:pt idx="545" formatCode="0.000%">
                  <c:v>0.99745932496622869</c:v>
                </c:pt>
                <c:pt idx="546" formatCode="0.000%">
                  <c:v>0.99812106662323219</c:v>
                </c:pt>
                <c:pt idx="547" formatCode="0.000%">
                  <c:v>0.99801494080343389</c:v>
                </c:pt>
                <c:pt idx="548" formatCode="0.000%">
                  <c:v>0.99801067587770809</c:v>
                </c:pt>
                <c:pt idx="549" formatCode="0.000%">
                  <c:v>0.99832854094331458</c:v>
                </c:pt>
                <c:pt idx="550" formatCode="0.000%">
                  <c:v>0.99757774823975343</c:v>
                </c:pt>
                <c:pt idx="551" formatCode="0.000%">
                  <c:v>0.99809397002798972</c:v>
                </c:pt>
                <c:pt idx="552" formatCode="0.000%">
                  <c:v>0.99870751651715761</c:v>
                </c:pt>
                <c:pt idx="553" formatCode="0.000%">
                  <c:v>0.99756933895155431</c:v>
                </c:pt>
                <c:pt idx="554" formatCode="0.000%">
                  <c:v>0.99503659095285912</c:v>
                </c:pt>
                <c:pt idx="555" formatCode="0.000%">
                  <c:v>0.99785528489098851</c:v>
                </c:pt>
                <c:pt idx="556" formatCode="0.000%">
                  <c:v>0.99817666136191441</c:v>
                </c:pt>
                <c:pt idx="557" formatCode="0.000%">
                  <c:v>0.99824746214314564</c:v>
                </c:pt>
                <c:pt idx="558" formatCode="0.000%">
                  <c:v>0.99771635079092835</c:v>
                </c:pt>
                <c:pt idx="559" formatCode="0.000%">
                  <c:v>0.99864165883004363</c:v>
                </c:pt>
                <c:pt idx="560" formatCode="0.000%">
                  <c:v>0.99869968534006504</c:v>
                </c:pt>
                <c:pt idx="561">
                  <c:v>0.99942132643711068</c:v>
                </c:pt>
                <c:pt idx="562" formatCode="0.000%">
                  <c:v>0.99850591965666047</c:v>
                </c:pt>
                <c:pt idx="563" formatCode="0.000%">
                  <c:v>0.99899206090856296</c:v>
                </c:pt>
                <c:pt idx="564" formatCode="0.000%">
                  <c:v>0.99932463469329513</c:v>
                </c:pt>
                <c:pt idx="565" formatCode="0.000%">
                  <c:v>0.99947573061342632</c:v>
                </c:pt>
                <c:pt idx="566" formatCode="0.000%">
                  <c:v>0.99956155659239698</c:v>
                </c:pt>
                <c:pt idx="567" formatCode="0.000%">
                  <c:v>0.99936971028646793</c:v>
                </c:pt>
                <c:pt idx="568" formatCode="0.000%">
                  <c:v>0.99847186053242842</c:v>
                </c:pt>
                <c:pt idx="569" formatCode="0.000%">
                  <c:v>0.99935286156926351</c:v>
                </c:pt>
                <c:pt idx="570" formatCode="0.000%">
                  <c:v>0.99925886742860848</c:v>
                </c:pt>
                <c:pt idx="571" formatCode="0.000%">
                  <c:v>0.99949913495853104</c:v>
                </c:pt>
                <c:pt idx="572" formatCode="0.000%">
                  <c:v>0.99950620298031356</c:v>
                </c:pt>
                <c:pt idx="573" formatCode="0.000%">
                  <c:v>0.99879816502701146</c:v>
                </c:pt>
                <c:pt idx="574" formatCode="0.000%">
                  <c:v>0.99852457682291607</c:v>
                </c:pt>
                <c:pt idx="575" formatCode="0.000%">
                  <c:v>0.9955751018759994</c:v>
                </c:pt>
                <c:pt idx="576" formatCode="0.000%">
                  <c:v>0.9980198989679725</c:v>
                </c:pt>
                <c:pt idx="577" formatCode="0.000%">
                  <c:v>0.99945630485627579</c:v>
                </c:pt>
                <c:pt idx="578" formatCode="0.000%">
                  <c:v>0.99822975441262918</c:v>
                </c:pt>
                <c:pt idx="579" formatCode="0.000%">
                  <c:v>0.99759700822242292</c:v>
                </c:pt>
                <c:pt idx="580" formatCode="0.000%">
                  <c:v>0.99939124590085249</c:v>
                </c:pt>
                <c:pt idx="581" formatCode="0.000%">
                  <c:v>0.99883902090568688</c:v>
                </c:pt>
                <c:pt idx="582" formatCode="0.000%">
                  <c:v>0.99928863148629909</c:v>
                </c:pt>
                <c:pt idx="583" formatCode="0.000%">
                  <c:v>0.99921902126735973</c:v>
                </c:pt>
                <c:pt idx="584" formatCode="0.000%">
                  <c:v>0.99903154538004413</c:v>
                </c:pt>
                <c:pt idx="585" formatCode="0.000%">
                  <c:v>0.99892067238138815</c:v>
                </c:pt>
                <c:pt idx="586" formatCode="0.000%">
                  <c:v>0.99912049093362987</c:v>
                </c:pt>
                <c:pt idx="587" formatCode="0.000%">
                  <c:v>0.99840735918211465</c:v>
                </c:pt>
                <c:pt idx="588" formatCode="0.000%">
                  <c:v>0.99899619020060471</c:v>
                </c:pt>
                <c:pt idx="589" formatCode="0.000%">
                  <c:v>0.99869922371067654</c:v>
                </c:pt>
                <c:pt idx="590">
                  <c:v>0.99684337506516008</c:v>
                </c:pt>
                <c:pt idx="591" formatCode="0.000%">
                  <c:v>0.99852735097450929</c:v>
                </c:pt>
                <c:pt idx="592" formatCode="0.000%">
                  <c:v>0.99843169073365556</c:v>
                </c:pt>
                <c:pt idx="593" formatCode="0.000%">
                  <c:v>0.99852683229004879</c:v>
                </c:pt>
                <c:pt idx="594" formatCode="0.000%">
                  <c:v>0.99833680110967038</c:v>
                </c:pt>
                <c:pt idx="595" formatCode="0.000%">
                  <c:v>0.99850214290793204</c:v>
                </c:pt>
                <c:pt idx="596" formatCode="0.000%">
                  <c:v>0.99914495601555731</c:v>
                </c:pt>
                <c:pt idx="597" formatCode="0.000%">
                  <c:v>0.99951642303315857</c:v>
                </c:pt>
                <c:pt idx="598" formatCode="0.000%">
                  <c:v>0.99891537143738351</c:v>
                </c:pt>
                <c:pt idx="599" formatCode="0.000%">
                  <c:v>0.99953848935360956</c:v>
                </c:pt>
                <c:pt idx="600" formatCode="0.000%">
                  <c:v>0.99886242115992729</c:v>
                </c:pt>
                <c:pt idx="601" formatCode="0.000%">
                  <c:v>0.99852766218521538</c:v>
                </c:pt>
                <c:pt idx="602" formatCode="0.000%">
                  <c:v>0.99934613150283236</c:v>
                </c:pt>
                <c:pt idx="603" formatCode="0.000%">
                  <c:v>0.9996740142030488</c:v>
                </c:pt>
                <c:pt idx="604" formatCode="0.000%">
                  <c:v>0.9997995210319206</c:v>
                </c:pt>
                <c:pt idx="605" formatCode="0.000%">
                  <c:v>0.9994904147105087</c:v>
                </c:pt>
                <c:pt idx="606" formatCode="0.000%">
                  <c:v>0.99935327452929723</c:v>
                </c:pt>
                <c:pt idx="607" formatCode="0.000%">
                  <c:v>0.99817394899704737</c:v>
                </c:pt>
                <c:pt idx="608" formatCode="0.000%">
                  <c:v>0.99927842094655628</c:v>
                </c:pt>
                <c:pt idx="609" formatCode="0.000%">
                  <c:v>0.99829554346278604</c:v>
                </c:pt>
                <c:pt idx="610" formatCode="0.000%">
                  <c:v>0.99881692511973541</c:v>
                </c:pt>
                <c:pt idx="611" formatCode="0.000%">
                  <c:v>0.99879539230332481</c:v>
                </c:pt>
                <c:pt idx="612" formatCode="0.000%">
                  <c:v>0.99936834601887004</c:v>
                </c:pt>
                <c:pt idx="613" formatCode="0.000%">
                  <c:v>0.9992793101199744</c:v>
                </c:pt>
                <c:pt idx="614" formatCode="0.000%">
                  <c:v>0.99957433786219252</c:v>
                </c:pt>
                <c:pt idx="615" formatCode="0.000%">
                  <c:v>0.99859304607105537</c:v>
                </c:pt>
                <c:pt idx="616" formatCode="0.000%">
                  <c:v>0.99959020960782041</c:v>
                </c:pt>
                <c:pt idx="617" formatCode="0.000%">
                  <c:v>0.99933569853464566</c:v>
                </c:pt>
                <c:pt idx="618">
                  <c:v>0.99789541542185045</c:v>
                </c:pt>
                <c:pt idx="619" formatCode="0.000%">
                  <c:v>0.9946077115046803</c:v>
                </c:pt>
                <c:pt idx="620" formatCode="0.000%">
                  <c:v>0.99864232109828988</c:v>
                </c:pt>
                <c:pt idx="621" formatCode="0.000%">
                  <c:v>0.99766178510459091</c:v>
                </c:pt>
                <c:pt idx="622" formatCode="0.000%">
                  <c:v>0.99866011938634958</c:v>
                </c:pt>
                <c:pt idx="623" formatCode="0.000%">
                  <c:v>0.99842807476168549</c:v>
                </c:pt>
                <c:pt idx="624" formatCode="0.000%">
                  <c:v>0.99767306278748602</c:v>
                </c:pt>
                <c:pt idx="625" formatCode="0.000%">
                  <c:v>0.99811723455210033</c:v>
                </c:pt>
                <c:pt idx="626" formatCode="0.000%">
                  <c:v>0.99809432351691296</c:v>
                </c:pt>
                <c:pt idx="627" formatCode="0.000%">
                  <c:v>0.99773820956038561</c:v>
                </c:pt>
                <c:pt idx="628" formatCode="0.000%">
                  <c:v>0.99685318561199043</c:v>
                </c:pt>
                <c:pt idx="629" formatCode="0.000%">
                  <c:v>0.99752984658794508</c:v>
                </c:pt>
                <c:pt idx="630" formatCode="0.000%">
                  <c:v>0.99742030042207253</c:v>
                </c:pt>
                <c:pt idx="631" formatCode="0.000%">
                  <c:v>0.99705449447528283</c:v>
                </c:pt>
                <c:pt idx="632" formatCode="0.000%">
                  <c:v>0.99811837565800088</c:v>
                </c:pt>
                <c:pt idx="633" formatCode="0.000%">
                  <c:v>0.99796629736330811</c:v>
                </c:pt>
                <c:pt idx="634" formatCode="0.000%">
                  <c:v>0.99779050777730816</c:v>
                </c:pt>
                <c:pt idx="635" formatCode="0.000%">
                  <c:v>0.99683578745199097</c:v>
                </c:pt>
                <c:pt idx="636" formatCode="0.000%">
                  <c:v>0.99572996692276228</c:v>
                </c:pt>
                <c:pt idx="637" formatCode="0.000%">
                  <c:v>0.99683264570587438</c:v>
                </c:pt>
                <c:pt idx="638" formatCode="0.000%">
                  <c:v>0.99563770036044252</c:v>
                </c:pt>
                <c:pt idx="639" formatCode="0.000%">
                  <c:v>0.99564379119833279</c:v>
                </c:pt>
                <c:pt idx="640" formatCode="0.000%">
                  <c:v>0.99789175499120808</c:v>
                </c:pt>
                <c:pt idx="641" formatCode="0.000%">
                  <c:v>0.99714290795279448</c:v>
                </c:pt>
                <c:pt idx="642" formatCode="0.000%">
                  <c:v>0.99769541067956913</c:v>
                </c:pt>
                <c:pt idx="643" formatCode="0.000%">
                  <c:v>0.9991760919049697</c:v>
                </c:pt>
                <c:pt idx="644" formatCode="0.000%">
                  <c:v>0.99789863126570455</c:v>
                </c:pt>
                <c:pt idx="645" formatCode="0.000%">
                  <c:v>0.9980597791293031</c:v>
                </c:pt>
                <c:pt idx="646" formatCode="0.000%">
                  <c:v>0.99872207454656958</c:v>
                </c:pt>
                <c:pt idx="647" formatCode="0.000%">
                  <c:v>0.99781118105943167</c:v>
                </c:pt>
                <c:pt idx="648" formatCode="0.000%">
                  <c:v>0.99782889043013789</c:v>
                </c:pt>
                <c:pt idx="649" formatCode="0.000%">
                  <c:v>0.99623466175841291</c:v>
                </c:pt>
                <c:pt idx="650" formatCode="0.000%">
                  <c:v>0.99667167567698356</c:v>
                </c:pt>
                <c:pt idx="651" formatCode="0.000%">
                  <c:v>0.99904153032673348</c:v>
                </c:pt>
                <c:pt idx="652" formatCode="0.000%">
                  <c:v>0.99852455007824759</c:v>
                </c:pt>
                <c:pt idx="653" formatCode="0.000%">
                  <c:v>0.99807347240001643</c:v>
                </c:pt>
                <c:pt idx="654" formatCode="0.000%">
                  <c:v>0.99714653874422221</c:v>
                </c:pt>
                <c:pt idx="655" formatCode="0.000%">
                  <c:v>0.99807699945464157</c:v>
                </c:pt>
                <c:pt idx="656" formatCode="0.000%">
                  <c:v>0.99811908699674801</c:v>
                </c:pt>
                <c:pt idx="657" formatCode="0.000%">
                  <c:v>0.9986143714136565</c:v>
                </c:pt>
                <c:pt idx="658" formatCode="0.000%">
                  <c:v>0.9962958813486833</c:v>
                </c:pt>
                <c:pt idx="659" formatCode="0.000%">
                  <c:v>0.99642891651251064</c:v>
                </c:pt>
                <c:pt idx="660" formatCode="0.000%">
                  <c:v>0.99807070114285701</c:v>
                </c:pt>
                <c:pt idx="661" formatCode="0.000%">
                  <c:v>0.99780218558828171</c:v>
                </c:pt>
                <c:pt idx="662" formatCode="0.000%">
                  <c:v>0.99571240574756847</c:v>
                </c:pt>
                <c:pt idx="663" formatCode="0.000%">
                  <c:v>0.99644314328733741</c:v>
                </c:pt>
                <c:pt idx="664" formatCode="0.000%">
                  <c:v>0.99674555116898078</c:v>
                </c:pt>
                <c:pt idx="665" formatCode="0.000%">
                  <c:v>0.99681413607910463</c:v>
                </c:pt>
                <c:pt idx="666" formatCode="0.000%">
                  <c:v>0.99808267534504158</c:v>
                </c:pt>
                <c:pt idx="667" formatCode="0.000%">
                  <c:v>0.99564287238581273</c:v>
                </c:pt>
                <c:pt idx="668" formatCode="0.000%">
                  <c:v>0.99709446282067993</c:v>
                </c:pt>
                <c:pt idx="669" formatCode="0.000%">
                  <c:v>0.99865367287901574</c:v>
                </c:pt>
                <c:pt idx="670" formatCode="0.000%">
                  <c:v>0.99767841264761992</c:v>
                </c:pt>
                <c:pt idx="671" formatCode="0.000%">
                  <c:v>0.99737622705931051</c:v>
                </c:pt>
                <c:pt idx="672" formatCode="0.000%">
                  <c:v>0.99649338158581158</c:v>
                </c:pt>
                <c:pt idx="673" formatCode="0.000%">
                  <c:v>0.99626893939393313</c:v>
                </c:pt>
                <c:pt idx="674" formatCode="0.000%">
                  <c:v>0.99921789787546356</c:v>
                </c:pt>
                <c:pt idx="675">
                  <c:v>0.99802578306540513</c:v>
                </c:pt>
                <c:pt idx="676" formatCode="0.000%">
                  <c:v>0.99835015353063061</c:v>
                </c:pt>
                <c:pt idx="677" formatCode="0.000%">
                  <c:v>0.99740719993361326</c:v>
                </c:pt>
                <c:pt idx="678" formatCode="0.000%">
                  <c:v>0.99791500687626888</c:v>
                </c:pt>
                <c:pt idx="679" formatCode="0.000%">
                  <c:v>0.99648896535779596</c:v>
                </c:pt>
                <c:pt idx="680" formatCode="0.000%">
                  <c:v>0.99774209228434263</c:v>
                </c:pt>
                <c:pt idx="681" formatCode="0.000%">
                  <c:v>0.99566197479488261</c:v>
                </c:pt>
                <c:pt idx="682" formatCode="0.000%">
                  <c:v>0.99474045027746461</c:v>
                </c:pt>
                <c:pt idx="683" formatCode="0.000%">
                  <c:v>0.99676628372929943</c:v>
                </c:pt>
                <c:pt idx="684" formatCode="0.000%">
                  <c:v>0.99734638047141255</c:v>
                </c:pt>
                <c:pt idx="685" formatCode="0.000%">
                  <c:v>0.98646443899080216</c:v>
                </c:pt>
                <c:pt idx="686" formatCode="0.000%">
                  <c:v>0.99636657063591882</c:v>
                </c:pt>
                <c:pt idx="687" formatCode="0.000%">
                  <c:v>0.99751944325886077</c:v>
                </c:pt>
                <c:pt idx="688" formatCode="0.000%">
                  <c:v>0.99854587542089579</c:v>
                </c:pt>
                <c:pt idx="689" formatCode="0.000%">
                  <c:v>0.9976741594347236</c:v>
                </c:pt>
                <c:pt idx="690" formatCode="0.000%">
                  <c:v>0.99552055176168186</c:v>
                </c:pt>
                <c:pt idx="691" formatCode="0.000%">
                  <c:v>0.99639246040215013</c:v>
                </c:pt>
                <c:pt idx="692" formatCode="0.000%">
                  <c:v>0.99576393334755753</c:v>
                </c:pt>
                <c:pt idx="693" formatCode="0.000%">
                  <c:v>0.99811677514582586</c:v>
                </c:pt>
                <c:pt idx="694" formatCode="0.000%">
                  <c:v>0.99517893133210877</c:v>
                </c:pt>
                <c:pt idx="695" formatCode="0.000%">
                  <c:v>0.99530787629818773</c:v>
                </c:pt>
                <c:pt idx="696" formatCode="0.000%">
                  <c:v>0.99803717930479396</c:v>
                </c:pt>
                <c:pt idx="697" formatCode="0.000%">
                  <c:v>0.99917262412861463</c:v>
                </c:pt>
                <c:pt idx="698" formatCode="0.000%">
                  <c:v>0.99886662991415109</c:v>
                </c:pt>
                <c:pt idx="699" formatCode="0.000%">
                  <c:v>0.99814265009247805</c:v>
                </c:pt>
                <c:pt idx="700" formatCode="0.000%">
                  <c:v>0.99650623014177897</c:v>
                </c:pt>
                <c:pt idx="701" formatCode="0.000%">
                  <c:v>1</c:v>
                </c:pt>
                <c:pt idx="702" formatCode="0.000%">
                  <c:v>1</c:v>
                </c:pt>
                <c:pt idx="703" formatCode="0.000%">
                  <c:v>0.99871959026888624</c:v>
                </c:pt>
              </c:numCache>
            </c:numRef>
          </c:val>
        </c:ser>
        <c:marker val="1"/>
        <c:axId val="63474304"/>
        <c:axId val="64647552"/>
      </c:lineChart>
      <c:dateAx>
        <c:axId val="63474304"/>
        <c:scaling>
          <c:orientation val="minMax"/>
        </c:scaling>
        <c:axPos val="b"/>
        <c:numFmt formatCode="dd/mm/yyyy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4647552"/>
        <c:crosses val="autoZero"/>
        <c:auto val="1"/>
        <c:lblOffset val="100"/>
        <c:baseTimeUnit val="days"/>
      </c:dateAx>
      <c:valAx>
        <c:axId val="6464755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347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15875">
      <a:solidFill>
        <a:srgbClr val="008732"/>
      </a:solidFill>
    </a:ln>
    <a:effectLst/>
  </c:spPr>
  <c:txPr>
    <a:bodyPr/>
    <a:lstStyle/>
    <a:p>
      <a:pPr>
        <a:defRPr/>
      </a:pPr>
      <a:endParaRPr lang="fr-FR"/>
    </a:p>
  </c:txPr>
  <c:externalData r:id="rId2"/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Taux de réussite de passation 3G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31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230:$K$230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31:$K$231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0.9998000000000000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</c:ser>
        <c:ser>
          <c:idx val="1"/>
          <c:order val="1"/>
          <c:tx>
            <c:strRef>
              <c:f>'H2 2015 Cluster Opt'!$B$232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30:$K$230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32:$K$232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</c:ser>
        <c:marker val="1"/>
        <c:axId val="54309248"/>
        <c:axId val="54310784"/>
      </c:lineChart>
      <c:catAx>
        <c:axId val="54309248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10784"/>
        <c:crosses val="autoZero"/>
        <c:auto val="1"/>
        <c:lblAlgn val="ctr"/>
        <c:lblOffset val="100"/>
      </c:catAx>
      <c:valAx>
        <c:axId val="54310784"/>
        <c:scaling>
          <c:orientation val="minMax"/>
        </c:scaling>
        <c:axPos val="l"/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0924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2G Taux d'appels interrompus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114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113:$K$113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14:$K$114</c:f>
              <c:numCache>
                <c:formatCode>General</c:formatCode>
                <c:ptCount val="9"/>
                <c:pt idx="0">
                  <c:v>0.78</c:v>
                </c:pt>
                <c:pt idx="1">
                  <c:v>0</c:v>
                </c:pt>
                <c:pt idx="2">
                  <c:v>0</c:v>
                </c:pt>
                <c:pt idx="3">
                  <c:v>1.82</c:v>
                </c:pt>
                <c:pt idx="4">
                  <c:v>0.77000000000000035</c:v>
                </c:pt>
                <c:pt idx="5">
                  <c:v>1.7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ser>
          <c:idx val="1"/>
          <c:order val="1"/>
          <c:tx>
            <c:strRef>
              <c:f>'H2 2015 Cluster Opt'!$B$115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113:$K$113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15:$K$115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51</c:v>
                </c:pt>
                <c:pt idx="5">
                  <c:v>0.58000000000000007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marker val="1"/>
        <c:axId val="54371456"/>
        <c:axId val="54372992"/>
      </c:lineChart>
      <c:catAx>
        <c:axId val="54371456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72992"/>
        <c:crosses val="autoZero"/>
        <c:auto val="1"/>
        <c:lblAlgn val="ctr"/>
        <c:lblOffset val="100"/>
      </c:catAx>
      <c:valAx>
        <c:axId val="5437299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7145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/>
              <a:t>3G Taux d'appels interrompus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59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258:$K$258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59:$K$259</c:f>
              <c:numCache>
                <c:formatCode>0.00%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9.8000000000000084E-3</c:v>
                </c:pt>
                <c:pt idx="5">
                  <c:v>2.8199999999999989E-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ser>
          <c:idx val="1"/>
          <c:order val="1"/>
          <c:tx>
            <c:strRef>
              <c:f>'H2 2015 Cluster Opt'!$B$260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58:$K$258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60:$K$260</c:f>
              <c:numCache>
                <c:formatCode>0.00%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</c:ser>
        <c:marker val="1"/>
        <c:axId val="54490240"/>
        <c:axId val="54491776"/>
      </c:lineChart>
      <c:catAx>
        <c:axId val="54490240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491776"/>
        <c:crosses val="autoZero"/>
        <c:auto val="1"/>
        <c:lblAlgn val="ctr"/>
        <c:lblOffset val="100"/>
      </c:catAx>
      <c:valAx>
        <c:axId val="54491776"/>
        <c:scaling>
          <c:orientation val="minMax"/>
        </c:scaling>
        <c:axPos val="l"/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49024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altLang="zh-CN" sz="1800" b="0" i="0" baseline="0"/>
              <a:t>Débit HSDPA "&gt; 1Mbit/s"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87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H2 2015 Cluster Opt'!$C$286:$K$286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87:$K$287</c:f>
              <c:numCache>
                <c:formatCode>0.00%</c:formatCode>
                <c:ptCount val="9"/>
                <c:pt idx="0">
                  <c:v>0.96580000000000032</c:v>
                </c:pt>
                <c:pt idx="1">
                  <c:v>0.96840000000000004</c:v>
                </c:pt>
                <c:pt idx="2">
                  <c:v>0.94750000000000001</c:v>
                </c:pt>
                <c:pt idx="3">
                  <c:v>0.98480000000000001</c:v>
                </c:pt>
                <c:pt idx="4">
                  <c:v>0.94550000000000001</c:v>
                </c:pt>
                <c:pt idx="5">
                  <c:v>0.92290000000000005</c:v>
                </c:pt>
                <c:pt idx="6">
                  <c:v>0.9325</c:v>
                </c:pt>
                <c:pt idx="7">
                  <c:v>0.9022</c:v>
                </c:pt>
                <c:pt idx="8">
                  <c:v>0.97750000000000004</c:v>
                </c:pt>
              </c:numCache>
            </c:numRef>
          </c:val>
        </c:ser>
        <c:ser>
          <c:idx val="1"/>
          <c:order val="1"/>
          <c:tx>
            <c:strRef>
              <c:f>'H2 2015 Cluster Opt'!$B$288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86:$K$286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88:$K$288</c:f>
              <c:numCache>
                <c:formatCode>0.00%</c:formatCode>
                <c:ptCount val="9"/>
                <c:pt idx="0">
                  <c:v>0.96580000000000032</c:v>
                </c:pt>
                <c:pt idx="1">
                  <c:v>0.96840000000000004</c:v>
                </c:pt>
                <c:pt idx="2">
                  <c:v>0.95380000000000031</c:v>
                </c:pt>
                <c:pt idx="3">
                  <c:v>0.99109999999999998</c:v>
                </c:pt>
                <c:pt idx="4">
                  <c:v>0.94910000000000005</c:v>
                </c:pt>
                <c:pt idx="5">
                  <c:v>0.96580000000000032</c:v>
                </c:pt>
                <c:pt idx="6">
                  <c:v>0.93910000000000005</c:v>
                </c:pt>
                <c:pt idx="7">
                  <c:v>0.96350000000000002</c:v>
                </c:pt>
                <c:pt idx="8">
                  <c:v>0.97650000000000003</c:v>
                </c:pt>
              </c:numCache>
            </c:numRef>
          </c:val>
        </c:ser>
        <c:marker val="1"/>
        <c:axId val="54395264"/>
        <c:axId val="54396800"/>
      </c:lineChart>
      <c:lineChart>
        <c:grouping val="standard"/>
        <c:ser>
          <c:idx val="2"/>
          <c:order val="2"/>
          <c:tx>
            <c:strRef>
              <c:f>'H2 2015 Cluster Opt'!$B$289</c:f>
              <c:strCache>
                <c:ptCount val="1"/>
                <c:pt idx="0">
                  <c:v>Moyenne (Kbit/s)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c:spPr>
          </c:marker>
          <c:cat>
            <c:strRef>
              <c:f>'H2 2015 Cluster Opt'!$C$286:$K$286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89:$K$289</c:f>
              <c:numCache>
                <c:formatCode>0</c:formatCode>
                <c:ptCount val="9"/>
                <c:pt idx="0">
                  <c:v>5964</c:v>
                </c:pt>
                <c:pt idx="1">
                  <c:v>7255</c:v>
                </c:pt>
                <c:pt idx="2">
                  <c:v>5164</c:v>
                </c:pt>
                <c:pt idx="3">
                  <c:v>6880</c:v>
                </c:pt>
                <c:pt idx="4">
                  <c:v>6388</c:v>
                </c:pt>
                <c:pt idx="5">
                  <c:v>6249</c:v>
                </c:pt>
                <c:pt idx="6">
                  <c:v>5881</c:v>
                </c:pt>
                <c:pt idx="7">
                  <c:v>5522</c:v>
                </c:pt>
                <c:pt idx="8">
                  <c:v>8553</c:v>
                </c:pt>
              </c:numCache>
            </c:numRef>
          </c:val>
        </c:ser>
        <c:marker val="1"/>
        <c:axId val="54420224"/>
        <c:axId val="54397952"/>
      </c:lineChart>
      <c:catAx>
        <c:axId val="54395264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96800"/>
        <c:crosses val="autoZero"/>
        <c:auto val="1"/>
        <c:lblAlgn val="ctr"/>
        <c:lblOffset val="100"/>
      </c:catAx>
      <c:valAx>
        <c:axId val="54396800"/>
        <c:scaling>
          <c:orientation val="minMax"/>
        </c:scaling>
        <c:axPos val="l"/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395264"/>
        <c:crosses val="autoZero"/>
        <c:crossBetween val="between"/>
      </c:valAx>
      <c:valAx>
        <c:axId val="54397952"/>
        <c:scaling>
          <c:orientation val="minMax"/>
        </c:scaling>
        <c:axPos val="r"/>
        <c:numFmt formatCode="0" sourceLinked="1"/>
        <c:tickLblPos val="nextTo"/>
        <c:txPr>
          <a:bodyPr/>
          <a:lstStyle/>
          <a:p>
            <a:pPr>
              <a:defRPr lang="en-US"/>
            </a:pPr>
            <a:endParaRPr lang="fr-FR"/>
          </a:p>
        </c:txPr>
        <c:crossAx val="54420224"/>
        <c:crosses val="max"/>
        <c:crossBetween val="between"/>
      </c:valAx>
      <c:catAx>
        <c:axId val="54420224"/>
        <c:scaling>
          <c:orientation val="minMax"/>
        </c:scaling>
        <c:delete val="1"/>
        <c:axPos val="b"/>
        <c:numFmt formatCode="General" sourceLinked="1"/>
        <c:tickLblPos val="none"/>
        <c:crossAx val="54397952"/>
        <c:crosses val="autoZero"/>
        <c:auto val="1"/>
        <c:lblAlgn val="ctr"/>
        <c:lblOffset val="10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 dirty="0"/>
              <a:t>Taux de réussite de passation 3G</a:t>
            </a:r>
            <a:endParaRPr lang="zh-CN" sz="1800" b="0" i="0" baseline="0" dirty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31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230:$K$230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31:$K$231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0.9998000000000000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</c:ser>
        <c:ser>
          <c:idx val="1"/>
          <c:order val="1"/>
          <c:tx>
            <c:strRef>
              <c:f>'H2 2015 Cluster Opt'!$B$232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30:$K$230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32:$K$232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</c:ser>
        <c:marker val="1"/>
        <c:axId val="54434816"/>
        <c:axId val="54539008"/>
      </c:lineChart>
      <c:catAx>
        <c:axId val="54434816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539008"/>
        <c:crosses val="autoZero"/>
        <c:auto val="1"/>
        <c:lblAlgn val="ctr"/>
        <c:lblOffset val="100"/>
      </c:catAx>
      <c:valAx>
        <c:axId val="54539008"/>
        <c:scaling>
          <c:orientation val="minMax"/>
        </c:scaling>
        <c:axPos val="l"/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4348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800" b="1" i="0" baseline="0" dirty="0" smtClean="0"/>
              <a:t>La disponibilité du réseau - Décembre 2015</a:t>
            </a:r>
            <a:endParaRPr lang="en-GB" sz="1800" b="1" i="0" baseline="0" dirty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v>DEC AVAILABILITY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1.38888888888889E-3"/>
                  <c:y val="-4.954956712405730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3611111111111124E-2"/>
                  <c:y val="-2.702703661312217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8888888888888862E-2"/>
                  <c:y val="4.504506102187028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0833333333333346E-2"/>
                  <c:y val="1.801802440874810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1.5277777777777782E-2"/>
                  <c:y val="-2.252253051093514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1.2500000000000004E-2"/>
                  <c:y val="4.504506102187028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>
                <c:manualLayout>
                  <c:x val="-2.7777777777777804E-2"/>
                  <c:y val="-4.504506102187028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>
                <c:manualLayout>
                  <c:x val="-1.6666666666666673E-2"/>
                  <c:y val="4.504506102187069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>
                <c:manualLayout>
                  <c:x val="-1.6666666666666673E-2"/>
                  <c:y val="1.351351830656112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>
                <c:manualLayout>
                  <c:x val="-6.9444444444444493E-3"/>
                  <c:y val="-2.252253051093514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"/>
              <c:layout>
                <c:manualLayout>
                  <c:x val="-3.0555555555555565E-2"/>
                  <c:y val="2.252253051093514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2"/>
              <c:layout>
                <c:manualLayout>
                  <c:x val="-1.9444444444444445E-2"/>
                  <c:y val="5.405407322624435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3"/>
              <c:layout>
                <c:manualLayout>
                  <c:x val="-1.38888888888889E-3"/>
                  <c:y val="1.351351830656108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4"/>
              <c:layout>
                <c:manualLayout>
                  <c:x val="-3.194444444444456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5"/>
              <c:layout>
                <c:manualLayout>
                  <c:x val="-2.222222222222224E-2"/>
                  <c:y val="4.504506102187028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8"/>
              <c:layout>
                <c:manualLayout>
                  <c:x val="0"/>
                  <c:y val="2.702703661312217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/>
                </a:pPr>
                <a:endParaRPr lang="fr-FR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_MTN ZAMBIA_PERFECT10 REPOR~_1'!$A$32:$A$60</c:f>
              <c:numCache>
                <c:formatCode>[$-409]d\-mmm;@</c:formatCode>
                <c:ptCount val="29"/>
                <c:pt idx="0">
                  <c:v>42339</c:v>
                </c:pt>
                <c:pt idx="1">
                  <c:v>42340</c:v>
                </c:pt>
                <c:pt idx="2">
                  <c:v>42341</c:v>
                </c:pt>
                <c:pt idx="3">
                  <c:v>42342</c:v>
                </c:pt>
                <c:pt idx="4">
                  <c:v>42343</c:v>
                </c:pt>
                <c:pt idx="5">
                  <c:v>42344</c:v>
                </c:pt>
                <c:pt idx="6">
                  <c:v>42345</c:v>
                </c:pt>
                <c:pt idx="7">
                  <c:v>42346</c:v>
                </c:pt>
                <c:pt idx="8">
                  <c:v>42347</c:v>
                </c:pt>
                <c:pt idx="9">
                  <c:v>42348</c:v>
                </c:pt>
                <c:pt idx="10">
                  <c:v>42349</c:v>
                </c:pt>
                <c:pt idx="11">
                  <c:v>42350</c:v>
                </c:pt>
                <c:pt idx="12">
                  <c:v>42351</c:v>
                </c:pt>
                <c:pt idx="13">
                  <c:v>42352</c:v>
                </c:pt>
                <c:pt idx="14">
                  <c:v>42353</c:v>
                </c:pt>
                <c:pt idx="15">
                  <c:v>42354</c:v>
                </c:pt>
                <c:pt idx="16">
                  <c:v>42355</c:v>
                </c:pt>
                <c:pt idx="17">
                  <c:v>42356</c:v>
                </c:pt>
                <c:pt idx="18">
                  <c:v>42357</c:v>
                </c:pt>
                <c:pt idx="19">
                  <c:v>42358</c:v>
                </c:pt>
                <c:pt idx="20">
                  <c:v>42359</c:v>
                </c:pt>
                <c:pt idx="21">
                  <c:v>42360</c:v>
                </c:pt>
                <c:pt idx="22">
                  <c:v>42361</c:v>
                </c:pt>
                <c:pt idx="23">
                  <c:v>42362</c:v>
                </c:pt>
                <c:pt idx="24">
                  <c:v>42363</c:v>
                </c:pt>
                <c:pt idx="25">
                  <c:v>42364</c:v>
                </c:pt>
                <c:pt idx="26">
                  <c:v>42365</c:v>
                </c:pt>
                <c:pt idx="27">
                  <c:v>42366</c:v>
                </c:pt>
                <c:pt idx="28">
                  <c:v>42367</c:v>
                </c:pt>
              </c:numCache>
            </c:numRef>
          </c:cat>
          <c:val>
            <c:numRef>
              <c:f>'_MTN ZAMBIA_PERFECT10 REPOR~_1'!$C$32:$C$60</c:f>
              <c:numCache>
                <c:formatCode>_-* #,##0.00\ _€_-;\-* #,##0.00\ _€_-;_-* "-"??\ _€_-;_-@_-</c:formatCode>
                <c:ptCount val="29"/>
                <c:pt idx="0">
                  <c:v>98.57</c:v>
                </c:pt>
                <c:pt idx="1">
                  <c:v>97.784999999999997</c:v>
                </c:pt>
                <c:pt idx="2">
                  <c:v>98.232500000000016</c:v>
                </c:pt>
                <c:pt idx="3">
                  <c:v>98.144999999999996</c:v>
                </c:pt>
                <c:pt idx="4">
                  <c:v>97.985000000000014</c:v>
                </c:pt>
                <c:pt idx="5">
                  <c:v>97.527500000000003</c:v>
                </c:pt>
                <c:pt idx="6">
                  <c:v>97.215000000000003</c:v>
                </c:pt>
                <c:pt idx="7">
                  <c:v>97.774999999999991</c:v>
                </c:pt>
                <c:pt idx="8">
                  <c:v>97.78</c:v>
                </c:pt>
                <c:pt idx="9">
                  <c:v>98.247500000000031</c:v>
                </c:pt>
                <c:pt idx="10">
                  <c:v>94.545000000000002</c:v>
                </c:pt>
                <c:pt idx="11">
                  <c:v>96.965000000000032</c:v>
                </c:pt>
                <c:pt idx="12">
                  <c:v>98.61999999999999</c:v>
                </c:pt>
                <c:pt idx="13">
                  <c:v>98.445000000000007</c:v>
                </c:pt>
                <c:pt idx="14">
                  <c:v>97.802500000000009</c:v>
                </c:pt>
                <c:pt idx="15">
                  <c:v>97.64</c:v>
                </c:pt>
                <c:pt idx="16">
                  <c:v>98.03</c:v>
                </c:pt>
                <c:pt idx="17">
                  <c:v>97.924999999999997</c:v>
                </c:pt>
                <c:pt idx="18">
                  <c:v>97.884999999999991</c:v>
                </c:pt>
                <c:pt idx="19">
                  <c:v>98.007499999999993</c:v>
                </c:pt>
                <c:pt idx="20">
                  <c:v>97.894999999999996</c:v>
                </c:pt>
                <c:pt idx="21">
                  <c:v>97.274999999999991</c:v>
                </c:pt>
                <c:pt idx="22">
                  <c:v>97.0625</c:v>
                </c:pt>
                <c:pt idx="23">
                  <c:v>98.127500000000012</c:v>
                </c:pt>
                <c:pt idx="24">
                  <c:v>98.705000000000013</c:v>
                </c:pt>
                <c:pt idx="25">
                  <c:v>98.53</c:v>
                </c:pt>
                <c:pt idx="26">
                  <c:v>98.745000000000005</c:v>
                </c:pt>
                <c:pt idx="27">
                  <c:v>97.929999999999993</c:v>
                </c:pt>
                <c:pt idx="28">
                  <c:v>98.235000000000014</c:v>
                </c:pt>
              </c:numCache>
            </c:numRef>
          </c:val>
        </c:ser>
        <c:marker val="1"/>
        <c:axId val="53592448"/>
        <c:axId val="53593984"/>
      </c:lineChart>
      <c:dateAx>
        <c:axId val="53592448"/>
        <c:scaling>
          <c:orientation val="minMax"/>
        </c:scaling>
        <c:axPos val="b"/>
        <c:numFmt formatCode="[$-409]d\-mmm;@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593984"/>
        <c:crosses val="autoZero"/>
        <c:auto val="1"/>
        <c:lblOffset val="100"/>
        <c:baseTimeUnit val="days"/>
      </c:dateAx>
      <c:valAx>
        <c:axId val="53593984"/>
        <c:scaling>
          <c:orientation val="minMax"/>
          <c:min val="94.5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.00\ _€_-;\-* #,##0.00\ _€_-;_-* &quot;-&quot;??\ _€_-;_-@_-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592448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Taux de couverture 2G </a:t>
            </a:r>
            <a:r>
              <a:rPr lang="en-US" sz="1000" b="0" i="0" baseline="0"/>
              <a:t>- [Rxlev &gt;=-90dBm](%)</a:t>
            </a:r>
            <a:endParaRPr lang="zh-CN" sz="10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1:$K$1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:$K$2</c:f>
              <c:numCache>
                <c:formatCode>0.00</c:formatCode>
                <c:ptCount val="9"/>
                <c:pt idx="0">
                  <c:v>98.04</c:v>
                </c:pt>
                <c:pt idx="1">
                  <c:v>98.86999999999999</c:v>
                </c:pt>
                <c:pt idx="2">
                  <c:v>99.51</c:v>
                </c:pt>
                <c:pt idx="3">
                  <c:v>97.8</c:v>
                </c:pt>
                <c:pt idx="4">
                  <c:v>94.76</c:v>
                </c:pt>
                <c:pt idx="5">
                  <c:v>98.22</c:v>
                </c:pt>
                <c:pt idx="6">
                  <c:v>93.98</c:v>
                </c:pt>
                <c:pt idx="7">
                  <c:v>99.04</c:v>
                </c:pt>
                <c:pt idx="8">
                  <c:v>98.35</c:v>
                </c:pt>
              </c:numCache>
            </c:numRef>
          </c:val>
        </c:ser>
        <c:ser>
          <c:idx val="1"/>
          <c:order val="1"/>
          <c:tx>
            <c:strRef>
              <c:f>'H2 2015 Cluster Opt'!$B$3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1:$K$1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3:$K$3</c:f>
              <c:numCache>
                <c:formatCode>0.00</c:formatCode>
                <c:ptCount val="9"/>
                <c:pt idx="0">
                  <c:v>98.04</c:v>
                </c:pt>
                <c:pt idx="1">
                  <c:v>98.86999999999999</c:v>
                </c:pt>
                <c:pt idx="2">
                  <c:v>99.649999999999991</c:v>
                </c:pt>
                <c:pt idx="3">
                  <c:v>98.76</c:v>
                </c:pt>
                <c:pt idx="4">
                  <c:v>96.64</c:v>
                </c:pt>
                <c:pt idx="5">
                  <c:v>98.88</c:v>
                </c:pt>
                <c:pt idx="6">
                  <c:v>96.33</c:v>
                </c:pt>
                <c:pt idx="7">
                  <c:v>99.04</c:v>
                </c:pt>
                <c:pt idx="8">
                  <c:v>98.35</c:v>
                </c:pt>
              </c:numCache>
            </c:numRef>
          </c:val>
        </c:ser>
        <c:marker val="1"/>
        <c:axId val="53983488"/>
        <c:axId val="53989376"/>
      </c:lineChart>
      <c:catAx>
        <c:axId val="53983488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989376"/>
        <c:crosses val="autoZero"/>
        <c:auto val="1"/>
        <c:lblAlgn val="ctr"/>
        <c:lblOffset val="100"/>
      </c:catAx>
      <c:valAx>
        <c:axId val="53989376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98348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La couverture 3G </a:t>
            </a:r>
            <a:r>
              <a:rPr lang="en-US" sz="1000" b="0" i="0" baseline="0"/>
              <a:t>- [RSCP &gt;=-95dBm]</a:t>
            </a:r>
            <a:r>
              <a:rPr lang="en-US" sz="1000" b="0" i="0" u="none" strike="noStrike" baseline="0"/>
              <a:t>(%)</a:t>
            </a:r>
            <a:endParaRPr lang="zh-CN" sz="10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135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134:$K$134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35:$K$135</c:f>
              <c:numCache>
                <c:formatCode>0.00</c:formatCode>
                <c:ptCount val="9"/>
                <c:pt idx="0">
                  <c:v>94.25</c:v>
                </c:pt>
                <c:pt idx="1">
                  <c:v>93.1</c:v>
                </c:pt>
                <c:pt idx="2">
                  <c:v>97.61</c:v>
                </c:pt>
                <c:pt idx="3">
                  <c:v>98.210000000000022</c:v>
                </c:pt>
                <c:pt idx="4">
                  <c:v>98.61</c:v>
                </c:pt>
                <c:pt idx="5">
                  <c:v>98.08</c:v>
                </c:pt>
                <c:pt idx="6">
                  <c:v>97.81</c:v>
                </c:pt>
                <c:pt idx="7">
                  <c:v>84.86</c:v>
                </c:pt>
                <c:pt idx="8">
                  <c:v>88.26</c:v>
                </c:pt>
              </c:numCache>
            </c:numRef>
          </c:val>
        </c:ser>
        <c:ser>
          <c:idx val="1"/>
          <c:order val="1"/>
          <c:tx>
            <c:strRef>
              <c:f>'H2 2015 Cluster Opt'!$B$136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134:$K$134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36:$K$136</c:f>
              <c:numCache>
                <c:formatCode>0.00</c:formatCode>
                <c:ptCount val="9"/>
                <c:pt idx="0">
                  <c:v>94.64</c:v>
                </c:pt>
                <c:pt idx="1">
                  <c:v>93.1</c:v>
                </c:pt>
                <c:pt idx="2">
                  <c:v>98.5</c:v>
                </c:pt>
                <c:pt idx="3">
                  <c:v>99.440000000000026</c:v>
                </c:pt>
                <c:pt idx="4">
                  <c:v>98.72</c:v>
                </c:pt>
                <c:pt idx="5">
                  <c:v>98.81</c:v>
                </c:pt>
                <c:pt idx="6">
                  <c:v>99.210000000000022</c:v>
                </c:pt>
                <c:pt idx="7">
                  <c:v>90.48</c:v>
                </c:pt>
                <c:pt idx="8">
                  <c:v>95.27</c:v>
                </c:pt>
              </c:numCache>
            </c:numRef>
          </c:val>
        </c:ser>
        <c:marker val="1"/>
        <c:axId val="51595520"/>
        <c:axId val="51617792"/>
      </c:lineChart>
      <c:catAx>
        <c:axId val="51595520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617792"/>
        <c:crosses val="autoZero"/>
        <c:auto val="1"/>
        <c:lblAlgn val="ctr"/>
        <c:lblOffset val="100"/>
      </c:catAx>
      <c:valAx>
        <c:axId val="51617792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159552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2G La Qualité </a:t>
            </a:r>
            <a:r>
              <a:rPr lang="en-US" sz="1000" b="0" i="0" baseline="0"/>
              <a:t>- [RxQual &lt;=4]</a:t>
            </a:r>
            <a:r>
              <a:rPr lang="en-US" sz="1000" b="0" i="0" u="none" strike="noStrike" baseline="0"/>
              <a:t>(%)</a:t>
            </a:r>
            <a:endParaRPr lang="zh-CN" sz="10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30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29:$K$29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30:$K$30</c:f>
              <c:numCache>
                <c:formatCode>0.00</c:formatCode>
                <c:ptCount val="9"/>
                <c:pt idx="0">
                  <c:v>97.149999999999991</c:v>
                </c:pt>
                <c:pt idx="1">
                  <c:v>96.82</c:v>
                </c:pt>
                <c:pt idx="2">
                  <c:v>92.4</c:v>
                </c:pt>
                <c:pt idx="3">
                  <c:v>95.45</c:v>
                </c:pt>
                <c:pt idx="4">
                  <c:v>92.5</c:v>
                </c:pt>
                <c:pt idx="5">
                  <c:v>91.990000000000023</c:v>
                </c:pt>
                <c:pt idx="6">
                  <c:v>94.82</c:v>
                </c:pt>
                <c:pt idx="7">
                  <c:v>96.53</c:v>
                </c:pt>
                <c:pt idx="8">
                  <c:v>97.36</c:v>
                </c:pt>
              </c:numCache>
            </c:numRef>
          </c:val>
        </c:ser>
        <c:ser>
          <c:idx val="1"/>
          <c:order val="1"/>
          <c:tx>
            <c:strRef>
              <c:f>'H2 2015 Cluster Opt'!$B$31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9:$K$29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31:$K$31</c:f>
              <c:numCache>
                <c:formatCode>0.00</c:formatCode>
                <c:ptCount val="9"/>
                <c:pt idx="0">
                  <c:v>97.149999999999991</c:v>
                </c:pt>
                <c:pt idx="1">
                  <c:v>96.82</c:v>
                </c:pt>
                <c:pt idx="2">
                  <c:v>94.490000000000023</c:v>
                </c:pt>
                <c:pt idx="3">
                  <c:v>97.25</c:v>
                </c:pt>
                <c:pt idx="4">
                  <c:v>94.7</c:v>
                </c:pt>
                <c:pt idx="5">
                  <c:v>93.8</c:v>
                </c:pt>
                <c:pt idx="6">
                  <c:v>95.82</c:v>
                </c:pt>
                <c:pt idx="7">
                  <c:v>96.53</c:v>
                </c:pt>
                <c:pt idx="8">
                  <c:v>97.36</c:v>
                </c:pt>
              </c:numCache>
            </c:numRef>
          </c:val>
        </c:ser>
        <c:marker val="1"/>
        <c:axId val="54078464"/>
        <c:axId val="54092544"/>
      </c:lineChart>
      <c:catAx>
        <c:axId val="54078464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092544"/>
        <c:crosses val="autoZero"/>
        <c:auto val="1"/>
        <c:lblAlgn val="ctr"/>
        <c:lblOffset val="100"/>
      </c:catAx>
      <c:valAx>
        <c:axId val="54092544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0784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3G La Qualité </a:t>
            </a:r>
            <a:r>
              <a:rPr lang="en-US" sz="1000" b="0" i="0" baseline="0"/>
              <a:t>- [EC/Io &gt;=-14dB]</a:t>
            </a:r>
            <a:r>
              <a:rPr lang="en-US" sz="1000" b="0" i="0" u="none" strike="noStrike" baseline="0"/>
              <a:t>(%)</a:t>
            </a:r>
            <a:endParaRPr lang="zh-CN" sz="10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159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158:$K$158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59:$K$159</c:f>
              <c:numCache>
                <c:formatCode>0.00</c:formatCode>
                <c:ptCount val="9"/>
                <c:pt idx="0">
                  <c:v>80.66</c:v>
                </c:pt>
                <c:pt idx="1">
                  <c:v>99.06</c:v>
                </c:pt>
                <c:pt idx="2">
                  <c:v>82.93</c:v>
                </c:pt>
                <c:pt idx="3">
                  <c:v>99.42</c:v>
                </c:pt>
                <c:pt idx="4">
                  <c:v>83</c:v>
                </c:pt>
                <c:pt idx="5">
                  <c:v>90.56</c:v>
                </c:pt>
                <c:pt idx="6">
                  <c:v>91.48</c:v>
                </c:pt>
                <c:pt idx="7">
                  <c:v>96.1</c:v>
                </c:pt>
                <c:pt idx="8">
                  <c:v>95.53</c:v>
                </c:pt>
              </c:numCache>
            </c:numRef>
          </c:val>
        </c:ser>
        <c:ser>
          <c:idx val="1"/>
          <c:order val="1"/>
          <c:tx>
            <c:strRef>
              <c:f>'H2 2015 Cluster Opt'!$B$160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158:$K$158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160:$K$160</c:f>
              <c:numCache>
                <c:formatCode>0.00</c:formatCode>
                <c:ptCount val="9"/>
                <c:pt idx="0">
                  <c:v>90.11</c:v>
                </c:pt>
                <c:pt idx="1">
                  <c:v>99.06</c:v>
                </c:pt>
                <c:pt idx="2">
                  <c:v>94.09</c:v>
                </c:pt>
                <c:pt idx="3">
                  <c:v>99.4</c:v>
                </c:pt>
                <c:pt idx="4">
                  <c:v>86.25</c:v>
                </c:pt>
                <c:pt idx="5">
                  <c:v>92.490000000000023</c:v>
                </c:pt>
                <c:pt idx="6">
                  <c:v>92.02</c:v>
                </c:pt>
                <c:pt idx="7">
                  <c:v>96.47</c:v>
                </c:pt>
                <c:pt idx="8">
                  <c:v>98.710000000000022</c:v>
                </c:pt>
              </c:numCache>
            </c:numRef>
          </c:val>
        </c:ser>
        <c:marker val="1"/>
        <c:axId val="53877760"/>
        <c:axId val="53887744"/>
      </c:lineChart>
      <c:catAx>
        <c:axId val="53877760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887744"/>
        <c:crosses val="autoZero"/>
        <c:auto val="1"/>
        <c:lblAlgn val="ctr"/>
        <c:lblOffset val="100"/>
      </c:catAx>
      <c:valAx>
        <c:axId val="53887744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387776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2G Taux de réussite de la configuration d'appel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58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57:$K$57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58:$K$58</c:f>
              <c:numCache>
                <c:formatCode>0.00</c:formatCode>
                <c:ptCount val="9"/>
                <c:pt idx="0">
                  <c:v>100</c:v>
                </c:pt>
                <c:pt idx="1">
                  <c:v>98.04</c:v>
                </c:pt>
                <c:pt idx="2">
                  <c:v>98.36</c:v>
                </c:pt>
                <c:pt idx="3">
                  <c:v>96.490000000000023</c:v>
                </c:pt>
                <c:pt idx="4">
                  <c:v>99.23</c:v>
                </c:pt>
                <c:pt idx="5">
                  <c:v>100</c:v>
                </c:pt>
                <c:pt idx="6">
                  <c:v>98.28</c:v>
                </c:pt>
                <c:pt idx="7">
                  <c:v>100</c:v>
                </c:pt>
                <c:pt idx="8">
                  <c:v>100</c:v>
                </c:pt>
              </c:numCache>
            </c:numRef>
          </c:val>
        </c:ser>
        <c:ser>
          <c:idx val="1"/>
          <c:order val="1"/>
          <c:tx>
            <c:strRef>
              <c:f>'H2 2015 Cluster Opt'!$B$59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57:$K$57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59:$K$59</c:f>
              <c:numCache>
                <c:formatCode>0.00</c:formatCode>
                <c:ptCount val="9"/>
                <c:pt idx="0">
                  <c:v>100</c:v>
                </c:pt>
                <c:pt idx="1">
                  <c:v>98.04</c:v>
                </c:pt>
                <c:pt idx="2">
                  <c:v>100</c:v>
                </c:pt>
                <c:pt idx="3">
                  <c:v>100</c:v>
                </c:pt>
                <c:pt idx="4">
                  <c:v>99.490000000000023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</c:numCache>
            </c:numRef>
          </c:val>
        </c:ser>
        <c:marker val="1"/>
        <c:axId val="54135808"/>
        <c:axId val="54141696"/>
      </c:lineChart>
      <c:catAx>
        <c:axId val="54135808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141696"/>
        <c:crosses val="autoZero"/>
        <c:auto val="1"/>
        <c:lblAlgn val="ctr"/>
        <c:lblOffset val="100"/>
      </c:catAx>
      <c:valAx>
        <c:axId val="54141696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13580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3G Taux de réussite de la configuration d'appel</a:t>
            </a:r>
            <a:endParaRPr lang="zh-CN" sz="1800" b="0" i="0" baseline="0"/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203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202:$K$202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03:$K$203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0.97219999999999995</c:v>
                </c:pt>
                <c:pt idx="3">
                  <c:v>1</c:v>
                </c:pt>
                <c:pt idx="4">
                  <c:v>0.97740000000000005</c:v>
                </c:pt>
                <c:pt idx="5">
                  <c:v>1</c:v>
                </c:pt>
                <c:pt idx="6">
                  <c:v>0.98249999999999971</c:v>
                </c:pt>
                <c:pt idx="7">
                  <c:v>0.98099999999999998</c:v>
                </c:pt>
                <c:pt idx="8">
                  <c:v>1</c:v>
                </c:pt>
              </c:numCache>
            </c:numRef>
          </c:val>
        </c:ser>
        <c:ser>
          <c:idx val="1"/>
          <c:order val="1"/>
          <c:tx>
            <c:strRef>
              <c:f>'H2 2015 Cluster Opt'!$B$204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202:$K$202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204:$K$204</c:f>
              <c:numCache>
                <c:formatCode>0.00%</c:formatCode>
                <c:ptCount val="9"/>
                <c:pt idx="0">
                  <c:v>1</c:v>
                </c:pt>
                <c:pt idx="1">
                  <c:v>1</c:v>
                </c:pt>
                <c:pt idx="2">
                  <c:v>0.99260000000000004</c:v>
                </c:pt>
                <c:pt idx="3">
                  <c:v>1</c:v>
                </c:pt>
                <c:pt idx="4">
                  <c:v>0.99570000000000003</c:v>
                </c:pt>
                <c:pt idx="5">
                  <c:v>1</c:v>
                </c:pt>
                <c:pt idx="6">
                  <c:v>1</c:v>
                </c:pt>
                <c:pt idx="7">
                  <c:v>0.98899999999999999</c:v>
                </c:pt>
                <c:pt idx="8">
                  <c:v>1</c:v>
                </c:pt>
              </c:numCache>
            </c:numRef>
          </c:val>
        </c:ser>
        <c:marker val="1"/>
        <c:axId val="54168576"/>
        <c:axId val="54199040"/>
      </c:lineChart>
      <c:catAx>
        <c:axId val="54168576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199040"/>
        <c:crosses val="autoZero"/>
        <c:auto val="1"/>
        <c:lblAlgn val="ctr"/>
        <c:lblOffset val="100"/>
      </c:catAx>
      <c:valAx>
        <c:axId val="54199040"/>
        <c:scaling>
          <c:orientation val="minMax"/>
        </c:scaling>
        <c:axPos val="l"/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16857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/>
              <a:t>Taux de réussite de passation 2G</a:t>
            </a:r>
            <a:endParaRPr lang="zh-CN" sz="1800" b="0" i="0" baseline="0"/>
          </a:p>
        </c:rich>
      </c:tx>
      <c:layout>
        <c:manualLayout>
          <c:xMode val="edge"/>
          <c:yMode val="edge"/>
          <c:x val="0.42510686164229594"/>
          <c:y val="2.4043824129208111E-2"/>
        </c:manualLayout>
      </c:layout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'H2 2015 Cluster Opt'!$B$86</c:f>
              <c:strCache>
                <c:ptCount val="1"/>
                <c:pt idx="0">
                  <c:v>Avant</c:v>
                </c:pt>
              </c:strCache>
            </c:strRef>
          </c:tx>
          <c:spPr>
            <a:ln w="28575" cap="rnd">
              <a:solidFill>
                <a:srgbClr val="A89E8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C7254"/>
              </a:solidFill>
              <a:ln w="9525">
                <a:solidFill>
                  <a:srgbClr val="A89E80"/>
                </a:solidFill>
              </a:ln>
              <a:effectLst/>
            </c:spPr>
          </c:marker>
          <c:cat>
            <c:strRef>
              <c:f>'H2 2015 Cluster Opt'!$C$85:$K$85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86:$K$86</c:f>
              <c:numCache>
                <c:formatCode>0.00</c:formatCode>
                <c:ptCount val="9"/>
                <c:pt idx="0">
                  <c:v>100</c:v>
                </c:pt>
                <c:pt idx="1">
                  <c:v>100</c:v>
                </c:pt>
                <c:pt idx="2">
                  <c:v>99.83</c:v>
                </c:pt>
                <c:pt idx="3">
                  <c:v>99.09</c:v>
                </c:pt>
                <c:pt idx="4">
                  <c:v>99.51</c:v>
                </c:pt>
                <c:pt idx="5">
                  <c:v>99.16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</c:numCache>
            </c:numRef>
          </c:val>
        </c:ser>
        <c:ser>
          <c:idx val="1"/>
          <c:order val="1"/>
          <c:tx>
            <c:strRef>
              <c:f>'H2 2015 Cluster Opt'!$B$87</c:f>
              <c:strCache>
                <c:ptCount val="1"/>
                <c:pt idx="0">
                  <c:v>Après</c:v>
                </c:pt>
              </c:strCache>
            </c:strRef>
          </c:tx>
          <c:spPr>
            <a:ln>
              <a:solidFill>
                <a:srgbClr val="99CC00"/>
              </a:solidFill>
            </a:ln>
          </c:spPr>
          <c:marker>
            <c:spPr>
              <a:solidFill>
                <a:srgbClr val="99CC00"/>
              </a:solidFill>
              <a:ln>
                <a:solidFill>
                  <a:srgbClr val="99CC00"/>
                </a:solidFill>
              </a:ln>
            </c:spPr>
          </c:marker>
          <c:cat>
            <c:strRef>
              <c:f>'H2 2015 Cluster Opt'!$C$85:$K$85</c:f>
              <c:strCache>
                <c:ptCount val="9"/>
                <c:pt idx="0">
                  <c:v>Chingola </c:v>
                </c:pt>
                <c:pt idx="1">
                  <c:v>Kabwe </c:v>
                </c:pt>
                <c:pt idx="2">
                  <c:v>Kitwe </c:v>
                </c:pt>
                <c:pt idx="3">
                  <c:v>Livingstone</c:v>
                </c:pt>
                <c:pt idx="4">
                  <c:v>Lusaka</c:v>
                </c:pt>
                <c:pt idx="5">
                  <c:v>Ndola </c:v>
                </c:pt>
                <c:pt idx="6">
                  <c:v>Solwezi </c:v>
                </c:pt>
                <c:pt idx="7">
                  <c:v>Mufulira </c:v>
                </c:pt>
                <c:pt idx="8">
                  <c:v>Luanshya</c:v>
                </c:pt>
              </c:strCache>
            </c:strRef>
          </c:cat>
          <c:val>
            <c:numRef>
              <c:f>'H2 2015 Cluster Opt'!$C$87:$K$87</c:f>
              <c:numCache>
                <c:formatCode>0.00</c:formatCode>
                <c:ptCount val="9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99.740000000000023</c:v>
                </c:pt>
                <c:pt idx="5">
                  <c:v>99.16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</c:numCache>
            </c:numRef>
          </c:val>
        </c:ser>
        <c:marker val="1"/>
        <c:axId val="54256000"/>
        <c:axId val="54257536"/>
      </c:lineChart>
      <c:catAx>
        <c:axId val="54256000"/>
        <c:scaling>
          <c:orientation val="minMax"/>
        </c:scaling>
        <c:axPos val="b"/>
        <c:majorGridlines>
          <c:spPr>
            <a:ln w="9525" cap="flat" cmpd="sng" algn="ctr">
              <a:solidFill>
                <a:schemeClr val="tx1">
                  <a:tint val="75000"/>
                  <a:shade val="95000"/>
                  <a:satMod val="10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257536"/>
        <c:crosses val="autoZero"/>
        <c:auto val="1"/>
        <c:lblAlgn val="ctr"/>
        <c:lblOffset val="100"/>
      </c:catAx>
      <c:valAx>
        <c:axId val="54257536"/>
        <c:scaling>
          <c:orientation val="minMax"/>
        </c:scaling>
        <c:axPos val="l"/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54256000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lang="en-US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</c:dTable>
      <c:spPr>
        <a:noFill/>
        <a:ln>
          <a:solidFill>
            <a:schemeClr val="tx1">
              <a:tint val="75000"/>
              <a:shade val="95000"/>
              <a:satMod val="105000"/>
            </a:schemeClr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>
          <a:tint val="75000"/>
          <a:shade val="95000"/>
          <a:satMod val="10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083</cdr:x>
      <cdr:y>0.19968</cdr:y>
    </cdr:from>
    <cdr:to>
      <cdr:x>0.22106</cdr:x>
      <cdr:y>0.8559</cdr:y>
    </cdr:to>
    <cdr:cxnSp macro="">
      <cdr:nvCxnSpPr>
        <cdr:cNvPr id="5" name="Straight Connector 4"/>
        <cdr:cNvCxnSpPr/>
      </cdr:nvCxnSpPr>
      <cdr:spPr>
        <a:xfrm xmlns:a="http://schemas.openxmlformats.org/drawingml/2006/main" flipH="1" flipV="1">
          <a:off x="1798392" y="547762"/>
          <a:ext cx="1873" cy="180014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9649</cdr:x>
      <cdr:y>0.19907</cdr:y>
    </cdr:from>
    <cdr:to>
      <cdr:x>0.24405</cdr:x>
      <cdr:y>0.20312</cdr:y>
    </cdr:to>
    <cdr:cxnSp macro="">
      <cdr:nvCxnSpPr>
        <cdr:cNvPr id="6" name="Straight Arrow Connector 5"/>
        <cdr:cNvCxnSpPr/>
      </cdr:nvCxnSpPr>
      <cdr:spPr>
        <a:xfrm xmlns:a="http://schemas.openxmlformats.org/drawingml/2006/main" flipH="1">
          <a:off x="1600170" y="546089"/>
          <a:ext cx="387323" cy="1111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headEnd type="arrow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215</cdr:x>
      <cdr:y>0.15741</cdr:y>
    </cdr:from>
    <cdr:to>
      <cdr:x>0.21053</cdr:x>
      <cdr:y>0.21296</cdr:y>
    </cdr:to>
    <cdr:sp macro="" textlink="">
      <cdr:nvSpPr>
        <cdr:cNvPr id="7" name="TextBox 12"/>
        <cdr:cNvSpPr txBox="1"/>
      </cdr:nvSpPr>
      <cdr:spPr>
        <a:xfrm xmlns:a="http://schemas.openxmlformats.org/drawingml/2006/main">
          <a:off x="831877" y="431807"/>
          <a:ext cx="882633" cy="15238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800" b="1" dirty="0"/>
            <a:t>Before Closing</a:t>
          </a:r>
        </a:p>
      </cdr:txBody>
    </cdr:sp>
  </cdr:relSizeAnchor>
  <cdr:relSizeAnchor xmlns:cdr="http://schemas.openxmlformats.org/drawingml/2006/chartDrawing">
    <cdr:from>
      <cdr:x>0.24405</cdr:x>
      <cdr:y>0.15741</cdr:y>
    </cdr:from>
    <cdr:to>
      <cdr:x>0.35244</cdr:x>
      <cdr:y>0.21296</cdr:y>
    </cdr:to>
    <cdr:sp macro="" textlink="">
      <cdr:nvSpPr>
        <cdr:cNvPr id="8" name="TextBox 13"/>
        <cdr:cNvSpPr txBox="1"/>
      </cdr:nvSpPr>
      <cdr:spPr>
        <a:xfrm xmlns:a="http://schemas.openxmlformats.org/drawingml/2006/main">
          <a:off x="1987493" y="431807"/>
          <a:ext cx="882715" cy="15238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800" b="1"/>
            <a:t>After Closing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5</cdr:x>
      <cdr:y>0.35135</cdr:y>
    </cdr:from>
    <cdr:to>
      <cdr:x>0.50833</cdr:x>
      <cdr:y>0.72973</cdr:y>
    </cdr:to>
    <cdr:sp macro="" textlink="">
      <cdr:nvSpPr>
        <cdr:cNvPr id="2" name="Oval 1"/>
        <cdr:cNvSpPr/>
      </cdr:nvSpPr>
      <cdr:spPr>
        <a:xfrm xmlns:a="http://schemas.openxmlformats.org/drawingml/2006/main">
          <a:off x="3200400" y="990599"/>
          <a:ext cx="1447800" cy="1066800"/>
        </a:xfrm>
        <a:prstGeom xmlns:a="http://schemas.openxmlformats.org/drawingml/2006/main" prst="ellipse">
          <a:avLst/>
        </a:prstGeom>
        <a:solidFill xmlns:a="http://schemas.openxmlformats.org/drawingml/2006/main">
          <a:srgbClr val="272727">
            <a:alpha val="0"/>
          </a:srgbClr>
        </a:solidFill>
        <a:ln xmlns:a="http://schemas.openxmlformats.org/drawingml/2006/main" w="25400" cap="flat" cmpd="sng" algn="ctr">
          <a:solidFill>
            <a:srgbClr val="272727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1pPr>
          <a:lvl2pPr marL="4556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2pPr>
          <a:lvl3pPr marL="9128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3pPr>
          <a:lvl4pPr marL="13700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4pPr>
          <a:lvl5pPr marL="18272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5pPr>
          <a:lvl6pPr marL="22860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6pPr>
          <a:lvl7pPr marL="27432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7pPr>
          <a:lvl8pPr marL="32004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8pPr>
          <a:lvl9pPr marL="36576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  <cdr:relSizeAnchor xmlns:cdr="http://schemas.openxmlformats.org/drawingml/2006/chartDrawing">
    <cdr:from>
      <cdr:x>0.23333</cdr:x>
      <cdr:y>0.35135</cdr:y>
    </cdr:from>
    <cdr:to>
      <cdr:x>0.33333</cdr:x>
      <cdr:y>0.51351</cdr:y>
    </cdr:to>
    <cdr:sp macro="" textlink="">
      <cdr:nvSpPr>
        <cdr:cNvPr id="3" name="Oval 2"/>
        <cdr:cNvSpPr/>
      </cdr:nvSpPr>
      <cdr:spPr>
        <a:xfrm xmlns:a="http://schemas.openxmlformats.org/drawingml/2006/main">
          <a:off x="2133600" y="990599"/>
          <a:ext cx="914400" cy="457200"/>
        </a:xfrm>
        <a:prstGeom xmlns:a="http://schemas.openxmlformats.org/drawingml/2006/main" prst="ellipse">
          <a:avLst/>
        </a:prstGeom>
        <a:solidFill xmlns:a="http://schemas.openxmlformats.org/drawingml/2006/main">
          <a:srgbClr val="272727">
            <a:alpha val="0"/>
          </a:srgbClr>
        </a:solidFill>
        <a:ln xmlns:a="http://schemas.openxmlformats.org/drawingml/2006/main" w="25400" cap="flat" cmpd="sng" algn="ctr">
          <a:solidFill>
            <a:srgbClr val="272727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1pPr>
          <a:lvl2pPr marL="4556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2pPr>
          <a:lvl3pPr marL="9128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3pPr>
          <a:lvl4pPr marL="13700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4pPr>
          <a:lvl5pPr marL="1827213" indent="1588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Verdana"/>
            </a:defRPr>
          </a:lvl5pPr>
          <a:lvl6pPr marL="22860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6pPr>
          <a:lvl7pPr marL="27432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7pPr>
          <a:lvl8pPr marL="32004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8pPr>
          <a:lvl9pPr marL="3657600" algn="l" defTabSz="914400" rtl="0" eaLnBrk="1" latinLnBrk="0" hangingPunct="1">
            <a:defRPr kern="1200">
              <a:solidFill>
                <a:sysClr val="window" lastClr="FFFFFF"/>
              </a:solidFill>
              <a:latin typeface="Verdana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51326FB-097E-4539-B5F3-0521B2B80A62}" type="datetimeFigureOut">
              <a:rPr lang="en-US"/>
              <a:pPr/>
              <a:t>3/1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085387C-3D6E-43D3-9637-2E593300C008}" type="slidenum">
              <a:rPr lang="en-US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0845773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zh-C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2D59D1D-0EF3-4E4A-8F21-620F43DD2B50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zh-C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7F2C347-52D0-4504-994E-CBB2CAE4947B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33358127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7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93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41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8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345" algn="l" defTabSz="91293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813" algn="l" defTabSz="91293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285" algn="l" defTabSz="91293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750" algn="l" defTabSz="91293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ZA" altLang="zh-CN" dirty="0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E889D39-904F-49E3-8F60-C98FF2B7385A}" type="slidenum">
              <a:rPr lang="en-ZA" altLang="zh-CN"/>
              <a:pPr eaLnBrk="1" hangingPunct="1"/>
              <a:t>1</a:t>
            </a:fld>
            <a:endParaRPr lang="en-ZA" altLang="zh-CN" dirty="0"/>
          </a:p>
        </p:txBody>
      </p:sp>
    </p:spTree>
    <p:extLst>
      <p:ext uri="{BB962C8B-B14F-4D97-AF65-F5344CB8AC3E}">
        <p14:creationId xmlns="" xmlns:p14="http://schemas.microsoft.com/office/powerpoint/2010/main" val="36774801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67DB1D-DF8A-49AD-ACF2-A319681C57A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88910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ZA" altLang="zh-CN" dirty="0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E889D39-904F-49E3-8F60-C98FF2B7385A}" type="slidenum">
              <a:rPr lang="en-ZA" altLang="zh-CN">
                <a:solidFill>
                  <a:prstClr val="black"/>
                </a:solidFill>
              </a:rPr>
              <a:pPr eaLnBrk="1" hangingPunct="1"/>
              <a:t>15</a:t>
            </a:fld>
            <a:endParaRPr lang="en-ZA" altLang="zh-C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784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5203076-3650-428B-9B01-6064D0B5D212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FABD83-3B3D-4986-AE3B-75F1BDE21AA8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28246984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6556362-CA1C-4679-935F-09C0FA99AC92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7357A0-BB82-4065-BADC-6F1BB1411ABD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738311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AD78A1F-18E3-4257-ADB0-A8B4150F722F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E16D57-270E-4409-A15A-90E9ACE42D7E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29148214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5278625"/>
            <a:ext cx="7146000" cy="507831"/>
          </a:xfrm>
          <a:prstGeom prst="rect">
            <a:avLst/>
          </a:prstGeom>
          <a:noFill/>
        </p:spPr>
        <p:txBody>
          <a:bodyPr wrap="none" lIns="449201">
            <a:noAutofit/>
          </a:bodyPr>
          <a:lstStyle>
            <a:lvl1pPr algn="l">
              <a:defRPr sz="2800" b="1" baseline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0" y="5815482"/>
            <a:ext cx="7146000" cy="399600"/>
          </a:xfrm>
          <a:noFill/>
        </p:spPr>
        <p:txBody>
          <a:bodyPr lIns="449281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33485838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" y="214292"/>
            <a:ext cx="7715271" cy="571482"/>
          </a:xfrm>
          <a:prstGeom prst="rect">
            <a:avLst/>
          </a:prstGeom>
        </p:spPr>
        <p:txBody>
          <a:bodyPr lIns="449201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1071546"/>
            <a:ext cx="9144000" cy="5357850"/>
          </a:xfrm>
          <a:prstGeom prst="rect">
            <a:avLst/>
          </a:prstGeom>
        </p:spPr>
        <p:txBody>
          <a:bodyPr lIns="628880" tIns="287488"/>
          <a:lstStyle>
            <a:lvl1pPr marL="513434" indent="-513434">
              <a:buFont typeface="+mj-lt"/>
              <a:buAutoNum type="arabicPeriod"/>
              <a:defRPr sz="2000"/>
            </a:lvl1pPr>
            <a:lvl2pPr marL="798677" indent="-342292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2pPr>
            <a:lvl3pPr marL="1255071" indent="-342292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3pPr>
            <a:lvl4pPr marL="1711456" indent="-342292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4pPr>
            <a:lvl5pPr marL="2167844" indent="-342292">
              <a:buFont typeface="+mj-lt"/>
              <a:buAutoNum type="arabicPeriod"/>
              <a:defRPr sz="1800" baseline="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>
          <a:xfrm>
            <a:off x="8715376" y="6470652"/>
            <a:ext cx="428625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fld id="{E412DC20-5BDB-427E-8CDD-2FCF6B52B522}" type="slidenum">
              <a:rPr lang="en-ZA" altLang="zh-CN"/>
              <a:pPr/>
              <a:t>‹N°›</a:t>
            </a:fld>
            <a:endParaRPr lang="en-ZA" altLang="zh-CN"/>
          </a:p>
        </p:txBody>
      </p:sp>
    </p:spTree>
    <p:extLst>
      <p:ext uri="{BB962C8B-B14F-4D97-AF65-F5344CB8AC3E}">
        <p14:creationId xmlns="" xmlns:p14="http://schemas.microsoft.com/office/powerpoint/2010/main" val="2249662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04232"/>
            <a:ext cx="7072330" cy="507831"/>
          </a:xfrm>
          <a:prstGeom prst="rect">
            <a:avLst/>
          </a:prstGeom>
          <a:noFill/>
        </p:spPr>
        <p:txBody>
          <a:bodyPr lIns="449201">
            <a:noAutofit/>
          </a:bodyPr>
          <a:lstStyle>
            <a:lvl1pPr algn="l">
              <a:defRPr sz="2800" b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262960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8715376" y="6470652"/>
            <a:ext cx="428625" cy="365125"/>
          </a:xfrm>
          <a:prstGeom prst="rect">
            <a:avLst/>
          </a:prstGeom>
        </p:spPr>
        <p:txBody>
          <a:bodyPr lIns="91293" tIns="45646" rIns="91293" bIns="45646" anchor="ctr"/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B573A8B9-F20D-48B8-8F25-0206247F5C16}" type="slidenum">
              <a:rPr lang="en-ZA" altLang="zh-CN"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rPr>
              <a:pPr algn="r" eaLnBrk="1" hangingPunct="1"/>
              <a:t>‹N°›</a:t>
            </a:fld>
            <a:endParaRPr lang="en-ZA" altLang="zh-CN" sz="1100" dirty="0">
              <a:solidFill>
                <a:schemeClr val="bg1"/>
              </a:solidFill>
              <a:latin typeface="Verdana" pitchFamily="34" charset="0"/>
              <a:ea typeface="宋体" pitchFamily="2" charset="-122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" y="214292"/>
            <a:ext cx="7715271" cy="571482"/>
          </a:xfrm>
          <a:prstGeom prst="rect">
            <a:avLst/>
          </a:prstGeom>
        </p:spPr>
        <p:txBody>
          <a:bodyPr lIns="449201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1071546"/>
            <a:ext cx="9144000" cy="5357850"/>
          </a:xfrm>
          <a:prstGeom prst="rect">
            <a:avLst/>
          </a:prstGeom>
        </p:spPr>
        <p:txBody>
          <a:bodyPr lIns="628880" tIns="287488"/>
          <a:lstStyle>
            <a:lvl1pPr marL="513434" indent="-513434">
              <a:buClr>
                <a:srgbClr val="FFB300"/>
              </a:buClr>
              <a:buSzPct val="120000"/>
              <a:buFont typeface="Arial" pitchFamily="34" charset="0"/>
              <a:buChar char="•"/>
              <a:defRPr sz="2000" baseline="0">
                <a:solidFill>
                  <a:srgbClr val="272727"/>
                </a:solidFill>
              </a:defRPr>
            </a:lvl1pPr>
            <a:lvl2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2pPr>
            <a:lvl3pPr>
              <a:buClr>
                <a:srgbClr val="808080"/>
              </a:buClr>
              <a:buSzPct val="120000"/>
              <a:defRPr sz="1800">
                <a:solidFill>
                  <a:srgbClr val="272727"/>
                </a:solidFill>
              </a:defRPr>
            </a:lvl3pPr>
            <a:lvl4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4pPr>
            <a:lvl5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8564722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Char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" y="214292"/>
            <a:ext cx="7715271" cy="571482"/>
          </a:xfrm>
          <a:prstGeom prst="rect">
            <a:avLst/>
          </a:prstGeom>
        </p:spPr>
        <p:txBody>
          <a:bodyPr lIns="449201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1071546"/>
            <a:ext cx="4643438" cy="5357850"/>
          </a:xfrm>
          <a:prstGeom prst="rect">
            <a:avLst/>
          </a:prstGeom>
        </p:spPr>
        <p:txBody>
          <a:bodyPr lIns="628880" tIns="287488"/>
          <a:lstStyle>
            <a:lvl1pPr marL="513434" indent="-513434">
              <a:buClr>
                <a:srgbClr val="FFB300"/>
              </a:buClr>
              <a:buSzPct val="120000"/>
              <a:buFont typeface="Arial" pitchFamily="34" charset="0"/>
              <a:buChar char="•"/>
              <a:defRPr sz="2000" baseline="0">
                <a:solidFill>
                  <a:srgbClr val="272727"/>
                </a:solidFill>
              </a:defRPr>
            </a:lvl1pPr>
            <a:lvl2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2pPr>
            <a:lvl3pPr>
              <a:buClr>
                <a:srgbClr val="808080"/>
              </a:buClr>
              <a:buSzPct val="120000"/>
              <a:defRPr sz="1800">
                <a:solidFill>
                  <a:srgbClr val="272727"/>
                </a:solidFill>
              </a:defRPr>
            </a:lvl3pPr>
            <a:lvl4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4pPr>
            <a:lvl5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2"/>
          </p:nvPr>
        </p:nvSpPr>
        <p:spPr>
          <a:xfrm>
            <a:off x="4643439" y="1071546"/>
            <a:ext cx="4500562" cy="5357850"/>
          </a:xfrm>
          <a:prstGeom prst="rect">
            <a:avLst/>
          </a:prstGeom>
        </p:spPr>
        <p:txBody>
          <a:bodyPr lIns="449201" rtlCol="0">
            <a:noAutofit/>
          </a:bodyPr>
          <a:lstStyle>
            <a:lvl1pPr>
              <a:buNone/>
              <a:defRPr lang="en-ZA" sz="2000" kern="1200" baseline="0" dirty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ZA" noProof="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715376" y="6470652"/>
            <a:ext cx="428625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fld id="{4A0B16BB-A6D2-4580-B975-D68E775CA2ED}" type="slidenum">
              <a:rPr lang="en-ZA" altLang="zh-CN"/>
              <a:pPr/>
              <a:t>‹N°›</a:t>
            </a:fld>
            <a:endParaRPr lang="en-ZA" altLang="zh-CN"/>
          </a:p>
        </p:txBody>
      </p:sp>
    </p:spTree>
    <p:extLst>
      <p:ext uri="{BB962C8B-B14F-4D97-AF65-F5344CB8AC3E}">
        <p14:creationId xmlns="" xmlns:p14="http://schemas.microsoft.com/office/powerpoint/2010/main" val="2362298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" y="214292"/>
            <a:ext cx="7715271" cy="571482"/>
          </a:xfrm>
          <a:prstGeom prst="rect">
            <a:avLst/>
          </a:prstGeom>
        </p:spPr>
        <p:txBody>
          <a:bodyPr lIns="449201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1"/>
          </p:nvPr>
        </p:nvSpPr>
        <p:spPr>
          <a:xfrm>
            <a:off x="357188" y="1285875"/>
            <a:ext cx="8501062" cy="4929188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buNone/>
              <a:defRPr lang="en-ZA" sz="2000" kern="1200" baseline="0" dirty="0" smtClean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ZA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15376" y="6470652"/>
            <a:ext cx="428625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fld id="{E3791C4F-7FD0-4B9E-807C-AD87E1987CA6}" type="slidenum">
              <a:rPr lang="en-ZA" altLang="zh-CN"/>
              <a:pPr/>
              <a:t>‹N°›</a:t>
            </a:fld>
            <a:endParaRPr lang="en-ZA" altLang="zh-CN"/>
          </a:p>
        </p:txBody>
      </p:sp>
    </p:spTree>
    <p:extLst>
      <p:ext uri="{BB962C8B-B14F-4D97-AF65-F5344CB8AC3E}">
        <p14:creationId xmlns="" xmlns:p14="http://schemas.microsoft.com/office/powerpoint/2010/main" val="27534497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" y="214292"/>
            <a:ext cx="7715271" cy="571482"/>
          </a:xfrm>
          <a:prstGeom prst="rect">
            <a:avLst/>
          </a:prstGeom>
        </p:spPr>
        <p:txBody>
          <a:bodyPr lIns="449201" anchor="ctr"/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357188" y="1285875"/>
            <a:ext cx="8501062" cy="4929188"/>
          </a:xfrm>
        </p:spPr>
        <p:txBody>
          <a:bodyPr rtlCol="0">
            <a:normAutofit/>
          </a:bodyPr>
          <a:lstStyle>
            <a:lvl1pPr>
              <a:defRPr lang="en-ZA" sz="2000" kern="1200" baseline="0" dirty="0" smtClean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ZA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15376" y="6470652"/>
            <a:ext cx="428625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fld id="{A11C2B1B-E780-4EE0-8F47-40153B3A163A}" type="slidenum">
              <a:rPr lang="en-ZA" altLang="zh-CN"/>
              <a:pPr/>
              <a:t>‹N°›</a:t>
            </a:fld>
            <a:endParaRPr lang="en-ZA" altLang="zh-CN"/>
          </a:p>
        </p:txBody>
      </p:sp>
    </p:spTree>
    <p:extLst>
      <p:ext uri="{BB962C8B-B14F-4D97-AF65-F5344CB8AC3E}">
        <p14:creationId xmlns="" xmlns:p14="http://schemas.microsoft.com/office/powerpoint/2010/main" val="5839229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564377"/>
            <a:ext cx="7072330" cy="507831"/>
          </a:xfrm>
          <a:prstGeom prst="rect">
            <a:avLst/>
          </a:prstGeom>
          <a:noFill/>
        </p:spPr>
        <p:txBody>
          <a:bodyPr lIns="449201">
            <a:noAutofit/>
          </a:bodyPr>
          <a:lstStyle>
            <a:lvl1pPr algn="l">
              <a:defRPr sz="2800" b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227377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A1D0C3-E933-4F89-92B4-AD2A062585E1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B06143-6A57-4508-8079-1A6273B831A5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2314586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479063" y="6574351"/>
            <a:ext cx="439511" cy="28364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A8989F95-E133-4EF9-8101-C480C3E8508E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0259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5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3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5" y="3938600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3" y="3938600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12641591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5278625"/>
            <a:ext cx="7146000" cy="507831"/>
          </a:xfrm>
          <a:prstGeom prst="rect">
            <a:avLst/>
          </a:prstGeom>
          <a:noFill/>
        </p:spPr>
        <p:txBody>
          <a:bodyPr wrap="none" lIns="449866">
            <a:noAutofit/>
          </a:bodyPr>
          <a:lstStyle>
            <a:lvl1pPr algn="l">
              <a:defRPr sz="2800" b="1" baseline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0" y="5815482"/>
            <a:ext cx="7146000" cy="399600"/>
          </a:xfrm>
          <a:noFill/>
        </p:spPr>
        <p:txBody>
          <a:bodyPr lIns="449945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701177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2"/>
            <a:ext cx="7715271" cy="571482"/>
          </a:xfrm>
          <a:prstGeom prst="rect">
            <a:avLst/>
          </a:prstGeom>
        </p:spPr>
        <p:txBody>
          <a:bodyPr lIns="449866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1071546"/>
            <a:ext cx="9144000" cy="5357850"/>
          </a:xfrm>
          <a:prstGeom prst="rect">
            <a:avLst/>
          </a:prstGeom>
        </p:spPr>
        <p:txBody>
          <a:bodyPr lIns="629811" tIns="287914"/>
          <a:lstStyle>
            <a:lvl1pPr marL="514196" indent="-514196">
              <a:buFont typeface="+mj-lt"/>
              <a:buAutoNum type="arabicPeriod"/>
              <a:defRPr sz="2000"/>
            </a:lvl1pPr>
            <a:lvl2pPr marL="799861" indent="-342797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2pPr>
            <a:lvl3pPr marL="1256923" indent="-342797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3pPr>
            <a:lvl4pPr marL="1713986" indent="-342797">
              <a:buFont typeface="+mj-lt"/>
              <a:buAutoNum type="arabicPeriod"/>
              <a:defRPr sz="1800">
                <a:solidFill>
                  <a:srgbClr val="272727"/>
                </a:solidFill>
              </a:defRPr>
            </a:lvl4pPr>
            <a:lvl5pPr marL="2171050" indent="-342797">
              <a:buFont typeface="+mj-lt"/>
              <a:buAutoNum type="arabicPeriod"/>
              <a:defRPr sz="1800" baseline="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>
          <a:xfrm>
            <a:off x="8715375" y="6470650"/>
            <a:ext cx="428625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C1B5C9D1-F1EF-4F68-B136-C70690C7A0E1}" type="slidenum">
              <a:rPr lang="en-ZA" altLang="zh-CN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N°›</a:t>
            </a:fld>
            <a:endParaRPr lang="en-ZA" altLang="zh-CN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492700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804232"/>
            <a:ext cx="7072330" cy="507831"/>
          </a:xfrm>
          <a:prstGeom prst="rect">
            <a:avLst/>
          </a:prstGeom>
          <a:noFill/>
        </p:spPr>
        <p:txBody>
          <a:bodyPr lIns="449866">
            <a:noAutofit/>
          </a:bodyPr>
          <a:lstStyle>
            <a:lvl1pPr algn="l">
              <a:defRPr sz="2800" b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23660615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8715375" y="6470650"/>
            <a:ext cx="428625" cy="365125"/>
          </a:xfrm>
          <a:prstGeom prst="rect">
            <a:avLst/>
          </a:prstGeom>
        </p:spPr>
        <p:txBody>
          <a:bodyPr lIns="91429" tIns="45715" rIns="91429" bIns="45715" anchor="ctr"/>
          <a:lstStyle/>
          <a:p>
            <a:pPr algn="r" defTabSz="912701">
              <a:defRPr/>
            </a:pPr>
            <a:fld id="{038E05C6-ACA5-425D-AD4C-0FA0B9DE6174}" type="slidenum">
              <a:rPr lang="en-ZA" altLang="zh-CN" sz="1100">
                <a:solidFill>
                  <a:prstClr val="white"/>
                </a:solidFill>
                <a:latin typeface="Verdana" pitchFamily="34" charset="0"/>
                <a:ea typeface="宋体" pitchFamily="2" charset="-122"/>
                <a:cs typeface="Arial" pitchFamily="34" charset="0"/>
              </a:rPr>
              <a:pPr algn="r" defTabSz="912701">
                <a:defRPr/>
              </a:pPr>
              <a:t>‹N°›</a:t>
            </a:fld>
            <a:endParaRPr lang="en-ZA" altLang="zh-CN" sz="1100" dirty="0">
              <a:solidFill>
                <a:prstClr val="white"/>
              </a:solidFill>
              <a:latin typeface="Verdana" pitchFamily="34" charset="0"/>
              <a:ea typeface="宋体" pitchFamily="2" charset="-122"/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2"/>
            <a:ext cx="7715271" cy="571482"/>
          </a:xfrm>
          <a:prstGeom prst="rect">
            <a:avLst/>
          </a:prstGeom>
        </p:spPr>
        <p:txBody>
          <a:bodyPr lIns="449866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1071546"/>
            <a:ext cx="9144000" cy="5357850"/>
          </a:xfrm>
          <a:prstGeom prst="rect">
            <a:avLst/>
          </a:prstGeom>
        </p:spPr>
        <p:txBody>
          <a:bodyPr lIns="629811" tIns="287914"/>
          <a:lstStyle>
            <a:lvl1pPr marL="514196" indent="-514196">
              <a:buClr>
                <a:srgbClr val="FFB300"/>
              </a:buClr>
              <a:buSzPct val="120000"/>
              <a:buFont typeface="Arial" pitchFamily="34" charset="0"/>
              <a:buChar char="•"/>
              <a:defRPr sz="2000" baseline="0">
                <a:solidFill>
                  <a:srgbClr val="272727"/>
                </a:solidFill>
              </a:defRPr>
            </a:lvl1pPr>
            <a:lvl2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2pPr>
            <a:lvl3pPr>
              <a:buClr>
                <a:srgbClr val="808080"/>
              </a:buClr>
              <a:buSzPct val="120000"/>
              <a:defRPr sz="1800">
                <a:solidFill>
                  <a:srgbClr val="272727"/>
                </a:solidFill>
              </a:defRPr>
            </a:lvl3pPr>
            <a:lvl4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4pPr>
            <a:lvl5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0521381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Chart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2"/>
            <a:ext cx="7715271" cy="571482"/>
          </a:xfrm>
          <a:prstGeom prst="rect">
            <a:avLst/>
          </a:prstGeom>
        </p:spPr>
        <p:txBody>
          <a:bodyPr lIns="449866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1071546"/>
            <a:ext cx="4643438" cy="5357850"/>
          </a:xfrm>
          <a:prstGeom prst="rect">
            <a:avLst/>
          </a:prstGeom>
        </p:spPr>
        <p:txBody>
          <a:bodyPr lIns="629811" tIns="287914"/>
          <a:lstStyle>
            <a:lvl1pPr marL="514196" indent="-514196">
              <a:buClr>
                <a:srgbClr val="FFB300"/>
              </a:buClr>
              <a:buSzPct val="120000"/>
              <a:buFont typeface="Arial" pitchFamily="34" charset="0"/>
              <a:buChar char="•"/>
              <a:defRPr sz="2000" baseline="0">
                <a:solidFill>
                  <a:srgbClr val="272727"/>
                </a:solidFill>
              </a:defRPr>
            </a:lvl1pPr>
            <a:lvl2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2pPr>
            <a:lvl3pPr>
              <a:buClr>
                <a:srgbClr val="808080"/>
              </a:buClr>
              <a:buSzPct val="120000"/>
              <a:defRPr sz="1800">
                <a:solidFill>
                  <a:srgbClr val="272727"/>
                </a:solidFill>
              </a:defRPr>
            </a:lvl3pPr>
            <a:lvl4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4pPr>
            <a:lvl5pPr>
              <a:buClr>
                <a:srgbClr val="808080"/>
              </a:buClr>
              <a:buSzPct val="120000"/>
              <a:buFont typeface="Arial" pitchFamily="34" charset="0"/>
              <a:buChar char="•"/>
              <a:defRPr sz="1800">
                <a:solidFill>
                  <a:srgbClr val="272727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2"/>
          </p:nvPr>
        </p:nvSpPr>
        <p:spPr>
          <a:xfrm>
            <a:off x="4643439" y="1071546"/>
            <a:ext cx="4500562" cy="5357850"/>
          </a:xfrm>
          <a:prstGeom prst="rect">
            <a:avLst/>
          </a:prstGeom>
        </p:spPr>
        <p:txBody>
          <a:bodyPr lIns="449866" rtlCol="0">
            <a:noAutofit/>
          </a:bodyPr>
          <a:lstStyle>
            <a:lvl1pPr>
              <a:buNone/>
              <a:defRPr lang="en-ZA" sz="2000" kern="1200" baseline="0" dirty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ZA" noProof="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8715375" y="6470650"/>
            <a:ext cx="428625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5FB51485-D3C8-4991-B76D-87B0B6181C4B}" type="slidenum">
              <a:rPr lang="en-ZA" altLang="zh-CN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N°›</a:t>
            </a:fld>
            <a:endParaRPr lang="en-ZA" altLang="zh-CN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80116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2"/>
            <a:ext cx="7715271" cy="571482"/>
          </a:xfrm>
          <a:prstGeom prst="rect">
            <a:avLst/>
          </a:prstGeom>
        </p:spPr>
        <p:txBody>
          <a:bodyPr lIns="449866" anchor="ctr">
            <a:normAutofit/>
          </a:bodyPr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1"/>
          </p:nvPr>
        </p:nvSpPr>
        <p:spPr>
          <a:xfrm>
            <a:off x="357188" y="1285875"/>
            <a:ext cx="8501062" cy="4929188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buNone/>
              <a:defRPr lang="en-ZA" sz="2000" kern="1200" baseline="0" dirty="0" smtClean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ZA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15375" y="6470650"/>
            <a:ext cx="428625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99AFEF22-32D0-4EE2-9B67-AA6515D1D9D3}" type="slidenum">
              <a:rPr lang="en-ZA" altLang="zh-CN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N°›</a:t>
            </a:fld>
            <a:endParaRPr lang="en-ZA" altLang="zh-CN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1387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" y="214292"/>
            <a:ext cx="7715271" cy="571482"/>
          </a:xfrm>
          <a:prstGeom prst="rect">
            <a:avLst/>
          </a:prstGeom>
        </p:spPr>
        <p:txBody>
          <a:bodyPr lIns="449866" anchor="ctr"/>
          <a:lstStyle>
            <a:lvl1pPr>
              <a:buNone/>
              <a:defRPr sz="2800" baseline="0">
                <a:solidFill>
                  <a:srgbClr val="27272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357188" y="1285875"/>
            <a:ext cx="8501062" cy="4929188"/>
          </a:xfrm>
        </p:spPr>
        <p:txBody>
          <a:bodyPr rtlCol="0">
            <a:normAutofit/>
          </a:bodyPr>
          <a:lstStyle>
            <a:lvl1pPr>
              <a:defRPr lang="en-ZA" sz="2000" kern="1200" baseline="0" dirty="0" smtClean="0">
                <a:solidFill>
                  <a:srgbClr val="27272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ZA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15375" y="6470650"/>
            <a:ext cx="428625" cy="365125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Verdan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3EACF84F-7D6F-49A1-83DA-906F97329051}" type="slidenum">
              <a:rPr lang="en-ZA" altLang="zh-CN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N°›</a:t>
            </a:fld>
            <a:endParaRPr lang="en-ZA" altLang="zh-CN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900946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564377"/>
            <a:ext cx="7072330" cy="507831"/>
          </a:xfrm>
          <a:prstGeom prst="rect">
            <a:avLst/>
          </a:prstGeom>
          <a:noFill/>
        </p:spPr>
        <p:txBody>
          <a:bodyPr lIns="449866">
            <a:noAutofit/>
          </a:bodyPr>
          <a:lstStyle>
            <a:lvl1pPr algn="l">
              <a:defRPr sz="2800" b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1348857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4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9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4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587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23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88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52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17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FB4E89D-32B2-4063-999B-5C5237942477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46DD74-3DC8-4FAD-8125-826A449AEF20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40463978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8957" y="99213"/>
            <a:ext cx="7200000" cy="7560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8957" y="1273177"/>
            <a:ext cx="7750800" cy="464343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defRPr lang="en-US" dirty="0" smtClean="0">
                <a:solidFill>
                  <a:schemeClr val="tx1"/>
                </a:solidFill>
              </a:defRPr>
            </a:lvl2pPr>
            <a:lvl3pPr>
              <a:defRPr lang="en-US" dirty="0" smtClean="0">
                <a:solidFill>
                  <a:schemeClr val="tx1"/>
                </a:solidFill>
              </a:defRPr>
            </a:lvl3pPr>
            <a:lvl4pPr>
              <a:defRPr lang="en-US" dirty="0" smtClean="0">
                <a:solidFill>
                  <a:schemeClr val="tx1"/>
                </a:solidFill>
              </a:defRPr>
            </a:lvl4pPr>
            <a:lvl5pPr>
              <a:defRPr lang="en-US" dirty="0"/>
            </a:lvl5pPr>
          </a:lstStyle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06166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" y="804241"/>
            <a:ext cx="7072330" cy="507831"/>
          </a:xfrm>
          <a:prstGeom prst="rect">
            <a:avLst/>
          </a:prstGeom>
          <a:noFill/>
        </p:spPr>
        <p:txBody>
          <a:bodyPr lIns="449806">
            <a:noAutofit/>
          </a:bodyPr>
          <a:lstStyle>
            <a:lvl1pPr algn="l">
              <a:defRPr sz="2100" b="0">
                <a:solidFill>
                  <a:srgbClr val="27272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1072747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031677" y="2082800"/>
            <a:ext cx="5605512" cy="465324"/>
          </a:xfrm>
        </p:spPr>
        <p:txBody>
          <a:bodyPr>
            <a:noAutofit/>
          </a:bodyPr>
          <a:lstStyle>
            <a:lvl1pPr marL="0" indent="0" algn="l">
              <a:buNone/>
              <a:defRPr sz="10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3031592" y="1369547"/>
            <a:ext cx="5617113" cy="718482"/>
          </a:xfrm>
        </p:spPr>
        <p:txBody>
          <a:bodyPr anchor="b" anchorCtr="0"/>
          <a:lstStyle>
            <a:lvl1pPr algn="l">
              <a:defRPr sz="1350" b="1" i="1">
                <a:solidFill>
                  <a:srgbClr val="FF0000"/>
                </a:solidFill>
              </a:defRPr>
            </a:lvl1pPr>
          </a:lstStyle>
          <a:p>
            <a:r>
              <a:rPr lang="en-US" dirty="0" smtClean="0"/>
              <a:t>Header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3316406"/>
            <a:ext cx="9144000" cy="3541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Rectangle 103"/>
          <p:cNvSpPr/>
          <p:nvPr userDrawn="1"/>
        </p:nvSpPr>
        <p:spPr>
          <a:xfrm>
            <a:off x="1" y="0"/>
            <a:ext cx="2725738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68587785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C04205-3ADF-40C8-B20D-A760DC1D7DDA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5A8F55-55F2-418E-99A5-8559E7F50B69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19255380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D4A3687-320C-4342-86E9-17BB6361252D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0126FC-46ED-4F4D-AB1A-3E42E02CCDCD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3694284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8D41B2-7E5C-4E2D-BEEC-DF98E6515B8B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E1D86C-FA3B-49CA-8FFB-4CEE5B87AEDC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33756488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9E94E8B-F9E8-4CF5-9265-4357B10AC982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187332-8F34-42A9-A297-AC767B764D01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12719236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3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70426F-C28B-4780-8470-F75B8A7C6A88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0DFE3A-B05C-4EDC-86C4-758287AC6A07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2452781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471" indent="0">
              <a:buNone/>
              <a:defRPr sz="2800"/>
            </a:lvl2pPr>
            <a:lvl3pPr marL="912937" indent="0">
              <a:buNone/>
              <a:defRPr sz="2400"/>
            </a:lvl3pPr>
            <a:lvl4pPr marL="1369410" indent="0">
              <a:buNone/>
              <a:defRPr sz="2000"/>
            </a:lvl4pPr>
            <a:lvl5pPr marL="1825875" indent="0">
              <a:buNone/>
              <a:defRPr sz="2000"/>
            </a:lvl5pPr>
            <a:lvl6pPr marL="2282345" indent="0">
              <a:buNone/>
              <a:defRPr sz="2000"/>
            </a:lvl6pPr>
            <a:lvl7pPr marL="2738813" indent="0">
              <a:buNone/>
              <a:defRPr sz="2000"/>
            </a:lvl7pPr>
            <a:lvl8pPr marL="3195285" indent="0">
              <a:buNone/>
              <a:defRPr sz="2000"/>
            </a:lvl8pPr>
            <a:lvl9pPr marL="365175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73C64C3-F1D4-49AD-9B57-0A53546DD190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B2AAF-89D9-463C-87B3-FF7E6DF99ACA}" type="slidenum">
              <a:rPr lang="en-US" altLang="zh-CN"/>
              <a:pPr/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="" xmlns:p14="http://schemas.microsoft.com/office/powerpoint/2010/main" val="106719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13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93" tIns="45646" rIns="91293" bIns="456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6356351"/>
            <a:ext cx="2133600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2BD385F4-5B0D-4914-A1AC-4FF419AE9871}" type="datetimeFigureOut">
              <a:rPr lang="en-US" altLang="zh-CN"/>
              <a:pPr/>
              <a:t>3/19/2016</a:t>
            </a:fld>
            <a:endParaRPr lang="en-US" altLang="zh-C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endParaRPr lang="en-US" altLang="zh-C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wrap="square" lIns="91293" tIns="45646" rIns="91293" bIns="45646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fld id="{7017CD72-001C-4DA1-9FF5-1EC058CDDB14}" type="slidenum">
              <a:rPr lang="en-US" altLang="zh-CN"/>
              <a:pPr/>
              <a:t>‹N°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710" r:id="rId1"/>
    <p:sldLayoutId id="2147493711" r:id="rId2"/>
    <p:sldLayoutId id="2147493712" r:id="rId3"/>
    <p:sldLayoutId id="2147493713" r:id="rId4"/>
    <p:sldLayoutId id="2147493714" r:id="rId5"/>
    <p:sldLayoutId id="2147493715" r:id="rId6"/>
    <p:sldLayoutId id="2147493716" r:id="rId7"/>
    <p:sldLayoutId id="2147493717" r:id="rId8"/>
    <p:sldLayoutId id="2147493718" r:id="rId9"/>
    <p:sldLayoutId id="2147493719" r:id="rId10"/>
    <p:sldLayoutId id="214749372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6471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2937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6941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5875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353" indent="-34235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762" indent="-28529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2" indent="-22823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641" indent="-22823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110" indent="-22823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578" indent="-228236" algn="l" defTabSz="91293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049" indent="-228236" algn="l" defTabSz="91293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517" indent="-228236" algn="l" defTabSz="91293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986" indent="-228236" algn="l" defTabSz="91293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1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37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1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4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13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28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5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7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8" tIns="45639" rIns="91278" bIns="456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ZA" altLang="zh-CN" smtClean="0"/>
          </a:p>
        </p:txBody>
      </p:sp>
      <p:sp>
        <p:nvSpPr>
          <p:cNvPr id="2051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57200" y="1600213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78" tIns="45639" rIns="91278" bIns="456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ZA" altLang="zh-CN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721" r:id="rId1"/>
    <p:sldLayoutId id="2147493722" r:id="rId2"/>
    <p:sldLayoutId id="2147493723" r:id="rId3"/>
    <p:sldLayoutId id="2147493724" r:id="rId4"/>
    <p:sldLayoutId id="2147493725" r:id="rId5"/>
    <p:sldLayoutId id="2147493726" r:id="rId6"/>
    <p:sldLayoutId id="2147493727" r:id="rId7"/>
    <p:sldLayoutId id="2147493728" r:id="rId8"/>
    <p:sldLayoutId id="2147493777" r:id="rId9"/>
    <p:sldLayoutId id="2147493778" r:id="rId10"/>
  </p:sldLayoutIdLst>
  <p:hf hdr="0" ftr="0" dt="0"/>
  <p:txStyles>
    <p:titleStyle>
      <a:lvl1pPr algn="ctr" defTabSz="911354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13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2pPr>
      <a:lvl3pPr algn="ctr" defTabSz="9113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3pPr>
      <a:lvl4pPr algn="ctr" defTabSz="9113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4pPr>
      <a:lvl5pPr algn="ctr" defTabSz="9113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5pPr>
      <a:lvl6pPr marL="456471" algn="ctr" defTabSz="9113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2937" algn="ctr" defTabSz="9113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69410" algn="ctr" defTabSz="9113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5875" algn="ctr" defTabSz="9113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40767" indent="-340767" algn="l" defTabSz="911354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0179" indent="-283708" algn="l" defTabSz="911354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90" indent="-226649" algn="l" defTabSz="911354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057" indent="-226649" algn="l" defTabSz="911354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525" indent="-226649" algn="l" defTabSz="911354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134" indent="-228196" algn="l" defTabSz="9127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525" indent="-228196" algn="l" defTabSz="9127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913" indent="-228196" algn="l" defTabSz="9127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300" indent="-228196" algn="l" defTabSz="9127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89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76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166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553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943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329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724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104" algn="l" defTabSz="9127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7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ZA" altLang="zh-CN" smtClean="0"/>
          </a:p>
        </p:txBody>
      </p:sp>
      <p:sp>
        <p:nvSpPr>
          <p:cNvPr id="3075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2" tIns="45706" rIns="91412" bIns="45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en-ZA" altLang="zh-CN" smtClean="0"/>
          </a:p>
        </p:txBody>
      </p:sp>
    </p:spTree>
    <p:extLst>
      <p:ext uri="{BB962C8B-B14F-4D97-AF65-F5344CB8AC3E}">
        <p14:creationId xmlns="" xmlns:p14="http://schemas.microsoft.com/office/powerpoint/2010/main" val="425197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31" r:id="rId1"/>
    <p:sldLayoutId id="2147493732" r:id="rId2"/>
    <p:sldLayoutId id="2147493733" r:id="rId3"/>
    <p:sldLayoutId id="2147493734" r:id="rId4"/>
    <p:sldLayoutId id="2147493735" r:id="rId5"/>
    <p:sldLayoutId id="2147493736" r:id="rId6"/>
    <p:sldLayoutId id="2147493737" r:id="rId7"/>
    <p:sldLayoutId id="2147493738" r:id="rId8"/>
  </p:sldLayoutIdLst>
  <p:hf hdr="0" ftr="0" dt="0"/>
  <p:txStyles>
    <p:titleStyle>
      <a:lvl1pPr algn="ctr" defTabSz="911225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2pPr>
      <a:lvl3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3pPr>
      <a:lvl4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4pPr>
      <a:lvl5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5pPr>
      <a:lvl6pPr marL="457144" algn="ctr" defTabSz="912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6pPr>
      <a:lvl7pPr marL="914287" algn="ctr" defTabSz="912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7pPr>
      <a:lvl8pPr marL="1371431" algn="ctr" defTabSz="912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8pPr>
      <a:lvl9pPr marL="1828575" algn="ctr" defTabSz="912701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Verdana" pitchFamily="34" charset="0"/>
        </a:defRPr>
      </a:lvl9pPr>
    </p:titleStyle>
    <p:bodyStyle>
      <a:lvl1pPr marL="339725" indent="-339725" algn="l" defTabSz="9112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defTabSz="9112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825" indent="-225425" algn="l" defTabSz="9112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025" indent="-225425" algn="l" defTabSz="9112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5425" algn="l" defTabSz="91122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9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3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5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6" y="6098875"/>
            <a:ext cx="9140825" cy="7591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996"/>
            <a:ext cx="9144000" cy="956098"/>
          </a:xfrm>
          <a:prstGeom prst="rect">
            <a:avLst/>
          </a:prstGeom>
        </p:spPr>
      </p:pic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613" y="1594"/>
          <a:ext cx="1587" cy="1587"/>
        </p:xfrm>
        <a:graphic>
          <a:graphicData uri="http://schemas.openxmlformats.org/presentationml/2006/ole">
            <p:oleObj spid="_x0000_s4130" name="think-cell Slide" r:id="rId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3260" y="99638"/>
            <a:ext cx="7199915" cy="75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/>
            <a:r>
              <a:rPr lang="en-US" dirty="0" smtClean="0"/>
              <a:t>Click to insert slide title (maximum 2 line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278" y="1265461"/>
            <a:ext cx="7750175" cy="46511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insert level one 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215857" y="6575523"/>
            <a:ext cx="249382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700">
                <a:solidFill>
                  <a:srgbClr val="95D8DB"/>
                </a:solidFill>
                <a:effectLst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3AD70FBD-5510-400F-86FC-486313CF9C36}" type="slidenum">
              <a:rPr lang="en-GB" sz="563" smtClean="0">
                <a:solidFill>
                  <a:srgbClr val="7B7B77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GB" sz="563" dirty="0" smtClean="0">
              <a:solidFill>
                <a:srgbClr val="7B7B77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01880" y="6575523"/>
            <a:ext cx="6374628" cy="107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ZA" sz="525" dirty="0">
                <a:solidFill>
                  <a:srgbClr val="7B7B77"/>
                </a:solidFill>
                <a:latin typeface="Arial"/>
              </a:rPr>
              <a:t>Copyright© 2013 Mobile Telephone Networks. All rights reserved</a:t>
            </a:r>
            <a:endParaRPr lang="en-GB" sz="525" dirty="0">
              <a:solidFill>
                <a:srgbClr val="7B7B77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0137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49" r:id="rId1"/>
    <p:sldLayoutId id="2147493750" r:id="rId2"/>
    <p:sldLayoutId id="2147493751" r:id="rId3"/>
  </p:sldLayoutIdLst>
  <p:timing>
    <p:tnLst>
      <p:par>
        <p:cTn id="1" dur="indefinite" restart="never" nodeType="tmRoot"/>
      </p:par>
    </p:tnLst>
  </p:timing>
  <p:txStyles>
    <p:titleStyle>
      <a:lvl1pPr algn="l" defTabSz="342900" rtl="0" eaLnBrk="1" latinLnBrk="0" hangingPunct="1">
        <a:lnSpc>
          <a:spcPct val="90000"/>
        </a:lnSpc>
        <a:spcBef>
          <a:spcPct val="0"/>
        </a:spcBef>
        <a:buNone/>
        <a:defRPr lang="en-US" sz="1725" b="1" i="1" kern="1200" baseline="0" dirty="0">
          <a:solidFill>
            <a:schemeClr val="accent4"/>
          </a:solidFill>
          <a:latin typeface="+mn-lt"/>
          <a:ea typeface="+mj-ea"/>
          <a:cs typeface="Calibri"/>
        </a:defRPr>
      </a:lvl1pPr>
    </p:titleStyle>
    <p:bodyStyle>
      <a:lvl1pPr marL="0" indent="0" algn="l" defTabSz="342900" rtl="0" eaLnBrk="1" latinLnBrk="0" hangingPunct="1">
        <a:spcBef>
          <a:spcPts val="225"/>
        </a:spcBef>
        <a:spcAft>
          <a:spcPts val="225"/>
        </a:spcAft>
        <a:buClr>
          <a:srgbClr val="FF0000"/>
        </a:buClr>
        <a:buFont typeface="Wingdings" charset="2"/>
        <a:buNone/>
        <a:defRPr sz="1350" kern="1200">
          <a:solidFill>
            <a:schemeClr val="tx1"/>
          </a:solidFill>
          <a:latin typeface="+mj-lt"/>
          <a:ea typeface="+mn-ea"/>
          <a:cs typeface="Calibri"/>
        </a:defRPr>
      </a:lvl1pPr>
      <a:lvl2pPr marL="116681" indent="-116681" algn="l" defTabSz="342900" rtl="0" eaLnBrk="1" latinLnBrk="0" hangingPunct="1">
        <a:spcBef>
          <a:spcPts val="225"/>
        </a:spcBef>
        <a:spcAft>
          <a:spcPts val="225"/>
        </a:spcAft>
        <a:buClr>
          <a:schemeClr val="tx1"/>
        </a:buClr>
        <a:buFont typeface="Arial" pitchFamily="34" charset="0"/>
        <a:buChar char="•"/>
        <a:defRPr sz="1350" kern="1200">
          <a:solidFill>
            <a:schemeClr val="tx1"/>
          </a:solidFill>
          <a:latin typeface="+mj-lt"/>
          <a:ea typeface="+mn-ea"/>
          <a:cs typeface="Calibri"/>
        </a:defRPr>
      </a:lvl2pPr>
      <a:lvl3pPr marL="271463" indent="-135731" algn="l" defTabSz="342900" rtl="0" eaLnBrk="1" latinLnBrk="0" hangingPunct="1">
        <a:spcBef>
          <a:spcPts val="225"/>
        </a:spcBef>
        <a:spcAft>
          <a:spcPts val="225"/>
        </a:spcAft>
        <a:buClr>
          <a:schemeClr val="tx1"/>
        </a:buClr>
        <a:buFont typeface="Arial" pitchFamily="34" charset="0"/>
        <a:buChar char="–"/>
        <a:defRPr sz="1350" kern="1200">
          <a:solidFill>
            <a:schemeClr val="tx1"/>
          </a:solidFill>
          <a:latin typeface="+mj-lt"/>
          <a:ea typeface="+mn-ea"/>
          <a:cs typeface="Calibri"/>
        </a:defRPr>
      </a:lvl3pPr>
      <a:lvl4pPr marL="401241" indent="-129779" algn="l" defTabSz="342900" rtl="0" eaLnBrk="1" latinLnBrk="0" hangingPunct="1">
        <a:spcBef>
          <a:spcPts val="225"/>
        </a:spcBef>
        <a:spcAft>
          <a:spcPts val="225"/>
        </a:spcAft>
        <a:buClr>
          <a:schemeClr val="tx1"/>
        </a:buClr>
        <a:buFont typeface="Wingdings" charset="2"/>
        <a:buChar char="§"/>
        <a:defRPr sz="1350" kern="1200">
          <a:solidFill>
            <a:schemeClr val="tx1"/>
          </a:solidFill>
          <a:latin typeface="+mj-lt"/>
          <a:ea typeface="+mn-ea"/>
          <a:cs typeface="Calibri"/>
        </a:defRPr>
      </a:lvl4pPr>
      <a:lvl5pPr marL="373856" indent="-107156" algn="l" defTabSz="342900" rtl="0" eaLnBrk="1" latinLnBrk="0" hangingPunct="1">
        <a:spcBef>
          <a:spcPts val="225"/>
        </a:spcBef>
        <a:spcAft>
          <a:spcPts val="225"/>
        </a:spcAft>
        <a:buClr>
          <a:schemeClr val="tx1"/>
        </a:buClr>
        <a:buFont typeface="Courier New" pitchFamily="49" charset="0"/>
        <a:buChar char="o"/>
        <a:tabLst/>
        <a:defRPr sz="900" kern="1200">
          <a:solidFill>
            <a:srgbClr val="404F3C"/>
          </a:solidFill>
          <a:latin typeface="+mj-lt"/>
          <a:ea typeface="+mn-ea"/>
          <a:cs typeface="Calibri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euille_Microsoft_Office_Excel_97-20031.xls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2.v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ctrTitle"/>
          </p:nvPr>
        </p:nvSpPr>
        <p:spPr>
          <a:xfrm>
            <a:off x="990601" y="4724400"/>
            <a:ext cx="6553200" cy="1524000"/>
          </a:xfrm>
        </p:spPr>
        <p:txBody>
          <a:bodyPr/>
          <a:lstStyle/>
          <a:p>
            <a:pPr algn="ctr" eaLnBrk="1" hangingPunct="1"/>
            <a:r>
              <a:rPr lang="en-US" altLang="zh-CN" sz="1800" dirty="0" err="1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QoS</a:t>
            </a:r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 DES </a:t>
            </a:r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PERFORMANCES </a:t>
            </a:r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 DE RÉSEAU MTN EN </a:t>
            </a:r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ZAMBIE  </a:t>
            </a:r>
            <a:b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</a:br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Présentation</a:t>
            </a:r>
            <a:r>
              <a:rPr lang="en-US" altLang="zh-CN" sz="20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/>
            </a:r>
            <a:br>
              <a:rPr lang="en-US" altLang="zh-CN" sz="20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</a:br>
            <a:r>
              <a:rPr lang="en-US" altLang="zh-CN" sz="2000" dirty="0" smtClean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/>
            </a:r>
            <a:br>
              <a:rPr lang="en-US" altLang="zh-CN" sz="2000" dirty="0" smtClean="0">
                <a:solidFill>
                  <a:schemeClr val="tx1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</a:br>
            <a:endParaRPr lang="en-US" altLang="zh-CN" sz="2000" b="0" dirty="0" smtClean="0"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8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en-ZA" sz="2586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G &amp; 3G CSS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67524" y="1498792"/>
            <a:ext cx="2593535" cy="1559509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2G CSSR </a:t>
            </a:r>
            <a:r>
              <a:rPr lang="en-US" altLang="zh-CN" sz="1293" dirty="0" err="1" smtClean="0">
                <a:solidFill>
                  <a:srgbClr val="000000"/>
                </a:solidFill>
                <a:ea typeface="宋体"/>
                <a:cs typeface="Calibri" pitchFamily="34" charset="0"/>
              </a:rPr>
              <a:t>mesur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a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ét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à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ivingstone, Kitwe et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olwezi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près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'optimisation des zones pauvres. 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01023" y="3827918"/>
            <a:ext cx="2660036" cy="2454946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3G CSSR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à Kitwe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, Lusaka,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Mufulira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Et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olwezi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’es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onsidérablemen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Un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mélioration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notable dans les autres villes a été enregistrée après certains travaux d'optimisation. </a:t>
            </a:r>
          </a:p>
        </p:txBody>
      </p:sp>
      <p:graphicFrame>
        <p:nvGraphicFramePr>
          <p:cNvPr id="8" name="图表 5"/>
          <p:cNvGraphicFramePr/>
          <p:nvPr/>
        </p:nvGraphicFramePr>
        <p:xfrm>
          <a:off x="182942" y="835465"/>
          <a:ext cx="5852079" cy="285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5"/>
          <p:cNvGraphicFramePr/>
          <p:nvPr/>
        </p:nvGraphicFramePr>
        <p:xfrm>
          <a:off x="182942" y="3761505"/>
          <a:ext cx="5852079" cy="2660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3016518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8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en-ZA" altLang="zh-CN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UX </a:t>
            </a:r>
            <a:r>
              <a:rPr lang="en-ZA" altLang="zh-CN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SUCCÈS </a:t>
            </a:r>
            <a:r>
              <a:rPr lang="en-ZA" altLang="zh-CN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LA PASSATION </a:t>
            </a:r>
            <a:r>
              <a:rPr lang="en-ZA" altLang="zh-CN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G&amp;3G </a:t>
            </a:r>
            <a:endParaRPr lang="en-ZA" sz="2586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01023" y="901835"/>
            <a:ext cx="2593535" cy="2753426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taux de réussite de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a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passation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2G a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u le moins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'amélioration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à Ndola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n raison de la topologie de la ville.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’Optimisation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ontinuera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à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'aide de </a:t>
            </a:r>
            <a:r>
              <a:rPr lang="en-US" altLang="zh-CN" sz="1293" dirty="0" smtClean="0">
                <a:solidFill>
                  <a:srgbClr val="000000"/>
                </a:solidFill>
                <a:ea typeface="宋体"/>
                <a:cs typeface="Calibri" pitchFamily="34" charset="0"/>
              </a:rPr>
              <a:t>KPI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'échantillon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T et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OSS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ea typeface="宋体"/>
                <a:cs typeface="Calibri" pitchFamily="34" charset="0"/>
              </a:rPr>
              <a:t>HOSR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ivingstone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’es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avec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nouveau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ite</a:t>
            </a:r>
            <a:endParaRPr lang="en-US" altLang="zh-CN" sz="1293" dirty="0">
              <a:solidFill>
                <a:srgbClr val="000000"/>
              </a:solidFill>
              <a:ea typeface="宋体"/>
              <a:cs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434025" y="3612193"/>
            <a:ext cx="2460533" cy="2156468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taux de réussite de passation 3G était de 100 % dans toutes les grandes villes. </a:t>
            </a: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Ndola et de Kitwe ont été optimisées pour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obtenir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plus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’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ations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</a:p>
        </p:txBody>
      </p:sp>
      <p:graphicFrame>
        <p:nvGraphicFramePr>
          <p:cNvPr id="9" name="图表 5"/>
          <p:cNvGraphicFramePr/>
          <p:nvPr/>
        </p:nvGraphicFramePr>
        <p:xfrm>
          <a:off x="249443" y="835466"/>
          <a:ext cx="5852079" cy="2793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5"/>
          <p:cNvGraphicFramePr/>
          <p:nvPr/>
        </p:nvGraphicFramePr>
        <p:xfrm>
          <a:off x="249443" y="3695004"/>
          <a:ext cx="5852079" cy="2726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42876141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8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en-ZA" sz="2586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ISSE D’</a:t>
            </a:r>
            <a:r>
              <a:rPr lang="en-ZA" sz="2586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EL 2G </a:t>
            </a:r>
            <a:r>
              <a:rPr lang="en-ZA" sz="2586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 </a:t>
            </a:r>
            <a:r>
              <a:rPr lang="en-ZA" sz="2586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ébit 3G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67524" y="1117592"/>
            <a:ext cx="2460533" cy="2454946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aux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de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baiss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’appel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de 2G a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été optimisé de Lusaka,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Ndola et de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hingola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à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moins de 1 %. Cela a été une conséquence directe de l'optimisation de la fréquence et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’autr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ravaux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RF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00526" y="4068023"/>
            <a:ext cx="2460533" cy="1261030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a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baiss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'appel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3G était excellent, à 0 %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ans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out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s 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v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ill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près l'optimisation.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graphicFrame>
        <p:nvGraphicFramePr>
          <p:cNvPr id="10" name="图表 5"/>
          <p:cNvGraphicFramePr/>
          <p:nvPr/>
        </p:nvGraphicFramePr>
        <p:xfrm>
          <a:off x="182942" y="901966"/>
          <a:ext cx="5918580" cy="2793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5"/>
          <p:cNvGraphicFramePr/>
          <p:nvPr/>
        </p:nvGraphicFramePr>
        <p:xfrm>
          <a:off x="182942" y="3761505"/>
          <a:ext cx="5918579" cy="2660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1065932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8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ISSE D’APPEL 2G &amp; </a:t>
            </a:r>
            <a:r>
              <a:rPr lang="en-ZA" sz="2586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ébit</a:t>
            </a:r>
            <a:r>
              <a:rPr lang="en-ZA" sz="2586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G</a:t>
            </a:r>
            <a:endParaRPr lang="en-ZA" sz="2586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01023" y="968409"/>
            <a:ext cx="2593535" cy="1261030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'inter RAT HO de 3G à 2G mesuré 100 % dans les villes 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st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près l'optimisation.  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01521" y="3291440"/>
            <a:ext cx="2859538" cy="3648863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s </a:t>
            </a:r>
            <a:r>
              <a:rPr lang="en-US" altLang="zh-CN" sz="1293" dirty="0" smtClean="0">
                <a:solidFill>
                  <a:srgbClr val="000000"/>
                </a:solidFill>
                <a:ea typeface="宋体"/>
                <a:cs typeface="Calibri" pitchFamily="34" charset="0"/>
              </a:rPr>
              <a:t>KPI </a:t>
            </a:r>
            <a:r>
              <a:rPr lang="en-US" altLang="zh-CN" sz="1293" dirty="0" smtClean="0">
                <a:solidFill>
                  <a:srgbClr val="000000"/>
                </a:solidFill>
                <a:ea typeface="宋体"/>
                <a:cs typeface="Calibri" pitchFamily="34" charset="0"/>
              </a:rPr>
              <a:t> des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ébit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3G (HSDPA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ébit &gt;) s'étaient améliorés de 1 Mbit/s pour la plupart à Ndola, et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olwezi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s vitesses moyennes de toutes les villes est 6133Kbit/s avec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es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vitess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upérieur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nregistré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à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uanshya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, 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Kabwe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t Livingstone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i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-joint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s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vitesses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hotspot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mesuré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à Lusaka</a:t>
            </a:r>
            <a:r>
              <a:rPr lang="en-US" altLang="zh-CN" sz="1293" dirty="0">
                <a:solidFill>
                  <a:srgbClr val="000000"/>
                </a:solidFill>
                <a:ea typeface="宋体"/>
                <a:cs typeface="Calibri" pitchFamily="34" charset="0"/>
              </a:rPr>
              <a:t>.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561381484"/>
              </p:ext>
            </p:extLst>
          </p:nvPr>
        </p:nvGraphicFramePr>
        <p:xfrm>
          <a:off x="7858148" y="2285992"/>
          <a:ext cx="844468" cy="712519"/>
        </p:xfrm>
        <a:graphic>
          <a:graphicData uri="http://schemas.openxmlformats.org/presentationml/2006/ole">
            <p:oleObj spid="_x0000_s6168" name="Worksheet" showAsIcon="1" r:id="rId3" imgW="914400" imgH="771480" progId="Excel.Sheet.8">
              <p:embed/>
            </p:oleObj>
          </a:graphicData>
        </a:graphic>
      </p:graphicFrame>
      <p:graphicFrame>
        <p:nvGraphicFramePr>
          <p:cNvPr id="9" name="图表 5"/>
          <p:cNvGraphicFramePr/>
          <p:nvPr/>
        </p:nvGraphicFramePr>
        <p:xfrm>
          <a:off x="182942" y="3616140"/>
          <a:ext cx="5852079" cy="2805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图表 5"/>
          <p:cNvGraphicFramePr/>
          <p:nvPr/>
        </p:nvGraphicFramePr>
        <p:xfrm>
          <a:off x="182942" y="835466"/>
          <a:ext cx="5852079" cy="272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1793584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2400" b="1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Résumé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914400"/>
            <a:ext cx="9144000" cy="5514996"/>
          </a:xfrm>
        </p:spPr>
        <p:txBody>
          <a:bodyPr/>
          <a:lstStyle/>
          <a:p>
            <a:r>
              <a:rPr lang="en-US" dirty="0" smtClean="0"/>
              <a:t>Travailler avec le régulateur comme un partenaire en matière d'expérience client procure une excellente expérience client.</a:t>
            </a:r>
          </a:p>
          <a:p>
            <a:endParaRPr lang="en-US" dirty="0"/>
          </a:p>
          <a:p>
            <a:r>
              <a:rPr lang="en-US" dirty="0" smtClean="0"/>
              <a:t>MTN </a:t>
            </a:r>
            <a:r>
              <a:rPr lang="en-US" dirty="0" err="1" smtClean="0"/>
              <a:t>voit</a:t>
            </a:r>
            <a:r>
              <a:rPr lang="en-US" dirty="0" smtClean="0"/>
              <a:t> en ZICTA un </a:t>
            </a:r>
            <a:r>
              <a:rPr lang="en-US" dirty="0" smtClean="0"/>
              <a:t>partenaire en QOS/QOE </a:t>
            </a:r>
            <a:r>
              <a:rPr lang="en-US" dirty="0" smtClean="0"/>
              <a:t>et les engage en </a:t>
            </a:r>
            <a:r>
              <a:rPr lang="en-US" dirty="0" err="1" smtClean="0"/>
              <a:t>ce</a:t>
            </a:r>
            <a:r>
              <a:rPr lang="en-US" dirty="0" smtClean="0"/>
              <a:t> moment </a:t>
            </a:r>
            <a:r>
              <a:rPr lang="en-US" dirty="0" err="1" smtClean="0"/>
              <a:t>sur</a:t>
            </a:r>
            <a:r>
              <a:rPr lang="en-US" dirty="0" smtClean="0"/>
              <a:t> </a:t>
            </a:r>
            <a:r>
              <a:rPr lang="en-US" dirty="0" smtClean="0"/>
              <a:t>le spectre afin de s'assurer que les services que nous offrons sont les meilleurs de l'industrie.</a:t>
            </a:r>
          </a:p>
          <a:p>
            <a:endParaRPr lang="en-US" dirty="0"/>
          </a:p>
          <a:p>
            <a:r>
              <a:rPr lang="en-US" dirty="0" smtClean="0"/>
              <a:t>MTN est perçue </a:t>
            </a:r>
            <a:r>
              <a:rPr lang="en-US" dirty="0" err="1" smtClean="0"/>
              <a:t>comme</a:t>
            </a:r>
            <a:r>
              <a:rPr lang="en-US" dirty="0" smtClean="0"/>
              <a:t> </a:t>
            </a:r>
            <a:r>
              <a:rPr lang="en-US" dirty="0" smtClean="0"/>
              <a:t>le </a:t>
            </a:r>
            <a:r>
              <a:rPr lang="en-US" dirty="0" err="1" smtClean="0"/>
              <a:t>fournisseur</a:t>
            </a:r>
            <a:r>
              <a:rPr lang="en-US" dirty="0" smtClean="0"/>
              <a:t> de </a:t>
            </a:r>
            <a:r>
              <a:rPr lang="en-US" dirty="0" err="1" smtClean="0"/>
              <a:t>réseau</a:t>
            </a:r>
            <a:r>
              <a:rPr lang="en-US" dirty="0" smtClean="0"/>
              <a:t> de la </a:t>
            </a:r>
            <a:r>
              <a:rPr lang="en-US" dirty="0" err="1" smtClean="0"/>
              <a:t>meilleure</a:t>
            </a:r>
            <a:r>
              <a:rPr lang="en-US" dirty="0" smtClean="0"/>
              <a:t> </a:t>
            </a:r>
            <a:r>
              <a:rPr lang="en-US" dirty="0" err="1" smtClean="0"/>
              <a:t>qualité</a:t>
            </a:r>
            <a:r>
              <a:rPr lang="en-US" dirty="0" smtClean="0"/>
              <a:t> </a:t>
            </a:r>
            <a:r>
              <a:rPr lang="en-US" dirty="0" err="1" smtClean="0"/>
              <a:t>dans</a:t>
            </a:r>
            <a:r>
              <a:rPr lang="en-US" dirty="0" smtClean="0"/>
              <a:t> </a:t>
            </a:r>
            <a:r>
              <a:rPr lang="en-US" dirty="0" smtClean="0"/>
              <a:t>le pays et a l'intention de garder </a:t>
            </a:r>
            <a:r>
              <a:rPr lang="en-US" dirty="0" err="1" smtClean="0"/>
              <a:t>cette</a:t>
            </a:r>
            <a:r>
              <a:rPr lang="en-US" dirty="0" smtClean="0"/>
              <a:t> </a:t>
            </a:r>
            <a:r>
              <a:rPr lang="en-US" dirty="0" smtClean="0"/>
              <a:t>image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1229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15375" y="6470650"/>
            <a:ext cx="428625" cy="36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762" indent="-28529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1172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641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110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0578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7049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3517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9986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FBD4167-40C7-4FB2-B7F5-56B78460C9D0}" type="slidenum">
              <a:rPr lang="en-ZA" altLang="zh-CN">
                <a:solidFill>
                  <a:schemeClr val="bg1"/>
                </a:solidFill>
                <a:latin typeface="Verdana" pitchFamily="34" charset="0"/>
              </a:rPr>
              <a:pPr eaLnBrk="1" hangingPunct="1"/>
              <a:t>14</a:t>
            </a:fld>
            <a:endParaRPr lang="en-ZA" altLang="zh-CN">
              <a:solidFill>
                <a:schemeClr val="bg1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3017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ctrTitle"/>
          </p:nvPr>
        </p:nvSpPr>
        <p:spPr>
          <a:xfrm>
            <a:off x="990601" y="4724400"/>
            <a:ext cx="6553200" cy="1524000"/>
          </a:xfrm>
        </p:spPr>
        <p:txBody>
          <a:bodyPr/>
          <a:lstStyle/>
          <a:p>
            <a:pPr algn="ctr" eaLnBrk="1" hangingPunct="1"/>
            <a:r>
              <a:rPr lang="en-US" altLang="zh-CN" sz="1800" dirty="0" smtClean="0">
                <a:solidFill>
                  <a:schemeClr val="tx1"/>
                </a:solidFill>
                <a:latin typeface="+mn-lt"/>
                <a:ea typeface="Arial Unicode MS" pitchFamily="34" charset="-128"/>
                <a:cs typeface="Arial" pitchFamily="34" charset="0"/>
              </a:rPr>
              <a:t>Merci</a:t>
            </a:r>
            <a:endParaRPr lang="en-US" altLang="zh-CN" sz="2000" b="0" dirty="0" smtClean="0">
              <a:latin typeface="+mn-lt"/>
              <a:ea typeface="Arial Unicode MS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739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2400" b="1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Sommaire - Gestion des performances du réseau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914400"/>
            <a:ext cx="9144000" cy="5181600"/>
          </a:xfrm>
        </p:spPr>
        <p:txBody>
          <a:bodyPr/>
          <a:lstStyle/>
          <a:p>
            <a:r>
              <a:rPr lang="en-US" dirty="0" smtClean="0"/>
              <a:t>La communication mobile </a:t>
            </a:r>
            <a:r>
              <a:rPr lang="en-US" dirty="0" smtClean="0"/>
              <a:t> </a:t>
            </a:r>
            <a:r>
              <a:rPr lang="en-US" dirty="0" err="1" smtClean="0"/>
              <a:t>existe</a:t>
            </a:r>
            <a:r>
              <a:rPr lang="en-US" dirty="0" smtClean="0"/>
              <a:t> en </a:t>
            </a:r>
            <a:r>
              <a:rPr lang="en-US" dirty="0" err="1" smtClean="0"/>
              <a:t>Zambie</a:t>
            </a:r>
            <a:r>
              <a:rPr lang="en-US" dirty="0" smtClean="0"/>
              <a:t> </a:t>
            </a:r>
            <a:r>
              <a:rPr lang="en-US" dirty="0" smtClean="0"/>
              <a:t>depuis des années 1990 </a:t>
            </a:r>
            <a:r>
              <a:rPr lang="en-US" dirty="0" smtClean="0"/>
              <a:t>et a </a:t>
            </a:r>
            <a:r>
              <a:rPr lang="en-US" dirty="0" err="1" smtClean="0"/>
              <a:t>été</a:t>
            </a:r>
            <a:r>
              <a:rPr lang="en-US" dirty="0" smtClean="0"/>
              <a:t> </a:t>
            </a:r>
            <a:r>
              <a:rPr lang="en-US" dirty="0" err="1" smtClean="0"/>
              <a:t>réglementée</a:t>
            </a:r>
            <a:r>
              <a:rPr lang="en-US" dirty="0" smtClean="0"/>
              <a:t> </a:t>
            </a:r>
            <a:r>
              <a:rPr lang="en-US" dirty="0" smtClean="0"/>
              <a:t>par </a:t>
            </a:r>
            <a:r>
              <a:rPr lang="en-US" dirty="0" smtClean="0"/>
              <a:t>CAZ</a:t>
            </a:r>
            <a:r>
              <a:rPr lang="en-US" dirty="0" smtClean="0"/>
              <a:t> </a:t>
            </a:r>
            <a:r>
              <a:rPr lang="en-US" dirty="0" smtClean="0"/>
              <a:t>le prédécesseur de ZICTA.</a:t>
            </a:r>
          </a:p>
          <a:p>
            <a:r>
              <a:rPr lang="en-US" dirty="0" smtClean="0"/>
              <a:t>Au cours de la </a:t>
            </a:r>
            <a:r>
              <a:rPr lang="en-US" dirty="0" err="1" smtClean="0"/>
              <a:t>période</a:t>
            </a:r>
            <a:r>
              <a:rPr lang="en-US" dirty="0" smtClean="0"/>
              <a:t> </a:t>
            </a:r>
            <a:r>
              <a:rPr lang="en-US" dirty="0" smtClean="0"/>
              <a:t>de la </a:t>
            </a:r>
            <a:r>
              <a:rPr lang="en-US" dirty="0" err="1" smtClean="0"/>
              <a:t>réglementation</a:t>
            </a:r>
            <a:r>
              <a:rPr lang="en-US" dirty="0" smtClean="0"/>
              <a:t> par CAZ, les </a:t>
            </a:r>
            <a:r>
              <a:rPr lang="en-US" dirty="0" err="1" smtClean="0"/>
              <a:t>systèmes</a:t>
            </a:r>
            <a:r>
              <a:rPr lang="en-US" dirty="0" smtClean="0"/>
              <a:t> de</a:t>
            </a:r>
            <a:r>
              <a:rPr lang="en-US" dirty="0" smtClean="0"/>
              <a:t> </a:t>
            </a:r>
            <a:r>
              <a:rPr lang="en-US" dirty="0" smtClean="0"/>
              <a:t>mesure de performance n'étaient pas </a:t>
            </a:r>
            <a:r>
              <a:rPr lang="en-US" dirty="0" err="1" smtClean="0"/>
              <a:t>surveillés</a:t>
            </a:r>
            <a:r>
              <a:rPr lang="en-US" dirty="0" smtClean="0"/>
              <a:t> </a:t>
            </a:r>
            <a:r>
              <a:rPr lang="en-US" dirty="0" err="1" smtClean="0"/>
              <a:t>dans</a:t>
            </a:r>
            <a:r>
              <a:rPr lang="en-US" dirty="0" smtClean="0"/>
              <a:t> la </a:t>
            </a:r>
            <a:r>
              <a:rPr lang="en-US" dirty="0" err="1" smtClean="0"/>
              <a:t>mesure</a:t>
            </a:r>
            <a:r>
              <a:rPr lang="en-US" dirty="0" smtClean="0"/>
              <a:t> </a:t>
            </a:r>
            <a:r>
              <a:rPr lang="en-US" dirty="0" err="1" smtClean="0"/>
              <a:t>où</a:t>
            </a:r>
            <a:r>
              <a:rPr lang="en-US" dirty="0" smtClean="0"/>
              <a:t> </a:t>
            </a:r>
            <a:r>
              <a:rPr lang="en-US" dirty="0" smtClean="0"/>
              <a:t>la législation </a:t>
            </a:r>
            <a:r>
              <a:rPr lang="en-US" dirty="0" err="1" smtClean="0"/>
              <a:t>n'était</a:t>
            </a:r>
            <a:r>
              <a:rPr lang="en-US" dirty="0" smtClean="0"/>
              <a:t> </a:t>
            </a:r>
            <a:r>
              <a:rPr lang="en-US" dirty="0" smtClean="0"/>
              <a:t>point </a:t>
            </a:r>
            <a:r>
              <a:rPr lang="en-US" dirty="0" err="1" smtClean="0"/>
              <a:t>établie</a:t>
            </a:r>
            <a:r>
              <a:rPr lang="en-US" dirty="0" smtClean="0"/>
              <a:t>, </a:t>
            </a:r>
            <a:r>
              <a:rPr lang="en-US" dirty="0" err="1" smtClean="0"/>
              <a:t>livrant</a:t>
            </a:r>
            <a:r>
              <a:rPr lang="en-US" dirty="0" smtClean="0"/>
              <a:t> </a:t>
            </a:r>
            <a:r>
              <a:rPr lang="en-US" dirty="0" err="1" smtClean="0"/>
              <a:t>ainsi</a:t>
            </a:r>
            <a:r>
              <a:rPr lang="en-US" dirty="0" smtClean="0"/>
              <a:t> le </a:t>
            </a:r>
            <a:r>
              <a:rPr lang="en-US" dirty="0" err="1" smtClean="0"/>
              <a:t>suivi</a:t>
            </a:r>
            <a:r>
              <a:rPr lang="en-US" dirty="0" smtClean="0"/>
              <a:t> </a:t>
            </a:r>
            <a:r>
              <a:rPr lang="en-US" dirty="0" err="1" smtClean="0"/>
              <a:t>entièrement</a:t>
            </a:r>
            <a:r>
              <a:rPr lang="en-US" dirty="0" smtClean="0"/>
              <a:t> </a:t>
            </a:r>
            <a:r>
              <a:rPr lang="en-US" dirty="0" smtClean="0"/>
              <a:t>de la discrétion de </a:t>
            </a:r>
            <a:r>
              <a:rPr lang="en-US" dirty="0" err="1" smtClean="0"/>
              <a:t>l‘opérateur</a:t>
            </a:r>
            <a:r>
              <a:rPr lang="en-US" dirty="0" smtClean="0"/>
              <a:t>.</a:t>
            </a:r>
            <a:endParaRPr lang="en-US" dirty="0" smtClean="0"/>
          </a:p>
          <a:p>
            <a:r>
              <a:rPr lang="en-US" dirty="0" smtClean="0"/>
              <a:t>ZICTA a </a:t>
            </a:r>
            <a:r>
              <a:rPr lang="en-US" dirty="0" err="1" smtClean="0"/>
              <a:t>initié</a:t>
            </a:r>
            <a:r>
              <a:rPr lang="en-US" dirty="0" smtClean="0"/>
              <a:t> la </a:t>
            </a:r>
            <a:r>
              <a:rPr lang="en-US" dirty="0" err="1" smtClean="0"/>
              <a:t>mesure</a:t>
            </a:r>
            <a:r>
              <a:rPr lang="en-US" dirty="0" smtClean="0"/>
              <a:t> de la </a:t>
            </a:r>
            <a:r>
              <a:rPr lang="en-US" dirty="0" err="1" smtClean="0"/>
              <a:t>QoS</a:t>
            </a:r>
            <a:r>
              <a:rPr lang="en-US" dirty="0" smtClean="0"/>
              <a:t> qui oblige les  </a:t>
            </a:r>
            <a:r>
              <a:rPr lang="en-US" dirty="0" smtClean="0"/>
              <a:t>opérateurs à s'assurer que les mesures sont maintenues de manière proactive et ZICTA </a:t>
            </a:r>
            <a:r>
              <a:rPr lang="en-US" dirty="0" smtClean="0"/>
              <a:t>assure le </a:t>
            </a:r>
            <a:r>
              <a:rPr lang="en-US" dirty="0" err="1" smtClean="0"/>
              <a:t>suivi</a:t>
            </a:r>
            <a:r>
              <a:rPr lang="en-US" dirty="0" smtClean="0"/>
              <a:t> </a:t>
            </a:r>
            <a:r>
              <a:rPr lang="en-US" dirty="0" smtClean="0"/>
              <a:t>à l'aide d'équipements fixes et mobiles ainsi que par le biais de leur centre d'appels.</a:t>
            </a:r>
          </a:p>
          <a:p>
            <a:r>
              <a:rPr lang="en-US" dirty="0" smtClean="0"/>
              <a:t>MTN </a:t>
            </a:r>
            <a:r>
              <a:rPr lang="en-US" dirty="0" smtClean="0"/>
              <a:t>Zambia Limited a répondu positivement à ce </a:t>
            </a:r>
            <a:r>
              <a:rPr lang="en-US" dirty="0" err="1" smtClean="0"/>
              <a:t>défi</a:t>
            </a:r>
            <a:r>
              <a:rPr lang="en-US" dirty="0" smtClean="0"/>
              <a:t> </a:t>
            </a:r>
            <a:r>
              <a:rPr lang="en-US" dirty="0" err="1" smtClean="0"/>
              <a:t>puisque</a:t>
            </a:r>
            <a:r>
              <a:rPr lang="en-US" dirty="0" smtClean="0"/>
              <a:t> </a:t>
            </a:r>
            <a:r>
              <a:rPr lang="en-US" dirty="0" err="1" smtClean="0"/>
              <a:t>l'expérience</a:t>
            </a:r>
            <a:r>
              <a:rPr lang="en-US" dirty="0" smtClean="0"/>
              <a:t> </a:t>
            </a:r>
            <a:r>
              <a:rPr lang="en-US" dirty="0" smtClean="0"/>
              <a:t>du client </a:t>
            </a:r>
            <a:r>
              <a:rPr lang="en-US" dirty="0" smtClean="0"/>
              <a:t>est un objectif majeur pour l'institution. </a:t>
            </a:r>
            <a:r>
              <a:rPr lang="en-US" dirty="0" smtClean="0"/>
              <a:t> </a:t>
            </a:r>
            <a:r>
              <a:rPr lang="en-US" dirty="0" err="1" smtClean="0"/>
              <a:t>Coopérer</a:t>
            </a:r>
            <a:r>
              <a:rPr lang="en-US" dirty="0" smtClean="0"/>
              <a:t> </a:t>
            </a:r>
            <a:r>
              <a:rPr lang="en-US" dirty="0" smtClean="0"/>
              <a:t>avec </a:t>
            </a:r>
            <a:r>
              <a:rPr lang="en-US" dirty="0" smtClean="0"/>
              <a:t>ZICTA nous a </a:t>
            </a:r>
            <a:r>
              <a:rPr lang="en-US" dirty="0" err="1" smtClean="0"/>
              <a:t>aidés</a:t>
            </a:r>
            <a:r>
              <a:rPr lang="en-US" dirty="0" smtClean="0"/>
              <a:t> </a:t>
            </a:r>
            <a:r>
              <a:rPr lang="en-US" dirty="0" smtClean="0"/>
              <a:t>à atteindre cet objectif, </a:t>
            </a:r>
            <a:r>
              <a:rPr lang="en-US" dirty="0" err="1" smtClean="0"/>
              <a:t>puisque</a:t>
            </a:r>
            <a:r>
              <a:rPr lang="en-US" dirty="0" smtClean="0"/>
              <a:t>  ZICTA </a:t>
            </a:r>
            <a:r>
              <a:rPr lang="en-US" dirty="0" err="1" smtClean="0"/>
              <a:t>répresente</a:t>
            </a:r>
            <a:r>
              <a:rPr lang="en-US" dirty="0" smtClean="0"/>
              <a:t> un </a:t>
            </a:r>
            <a:r>
              <a:rPr lang="en-US" dirty="0" err="1" smtClean="0"/>
              <a:t>oeil</a:t>
            </a:r>
            <a:r>
              <a:rPr lang="en-US" dirty="0" smtClean="0"/>
              <a:t> </a:t>
            </a:r>
            <a:r>
              <a:rPr lang="en-US" dirty="0" err="1" smtClean="0"/>
              <a:t>indépendant</a:t>
            </a:r>
            <a:r>
              <a:rPr lang="en-US" dirty="0" smtClean="0"/>
              <a:t> </a:t>
            </a:r>
            <a:r>
              <a:rPr lang="en-US" dirty="0" err="1" smtClean="0"/>
              <a:t>il</a:t>
            </a:r>
            <a:r>
              <a:rPr lang="en-US" dirty="0" smtClean="0"/>
              <a:t> </a:t>
            </a:r>
            <a:r>
              <a:rPr lang="en-US" dirty="0" smtClean="0"/>
              <a:t>pour MTN.</a:t>
            </a:r>
            <a:endParaRPr lang="en-US" dirty="0"/>
          </a:p>
        </p:txBody>
      </p:sp>
      <p:sp>
        <p:nvSpPr>
          <p:cNvPr id="1229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15375" y="6470650"/>
            <a:ext cx="428625" cy="36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762" indent="-28529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1172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641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110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0578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7049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3517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9986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FBD4167-40C7-4FB2-B7F5-56B78460C9D0}" type="slidenum">
              <a:rPr lang="en-ZA" altLang="zh-CN">
                <a:solidFill>
                  <a:schemeClr val="bg1"/>
                </a:solidFill>
                <a:latin typeface="Verdana" pitchFamily="34" charset="0"/>
              </a:rPr>
              <a:pPr eaLnBrk="1" hangingPunct="1"/>
              <a:t>2</a:t>
            </a:fld>
            <a:endParaRPr lang="en-ZA" altLang="zh-CN">
              <a:solidFill>
                <a:schemeClr val="bg1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1681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2400" b="1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Défis en matière de fourniture de servic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914400"/>
            <a:ext cx="9144000" cy="5514996"/>
          </a:xfrm>
        </p:spPr>
        <p:txBody>
          <a:bodyPr/>
          <a:lstStyle/>
          <a:p>
            <a:pPr marL="0" lvl="1" indent="0">
              <a:spcBef>
                <a:spcPts val="600"/>
              </a:spcBef>
              <a:buClr>
                <a:schemeClr val="accent1"/>
              </a:buClr>
              <a:buNone/>
              <a:defRPr/>
            </a:pPr>
            <a:r>
              <a:rPr lang="en-US" sz="2000" dirty="0"/>
              <a:t>Les principaux </a:t>
            </a:r>
            <a:r>
              <a:rPr lang="en-US" sz="2000" dirty="0" err="1" smtClean="0"/>
              <a:t>d</a:t>
            </a:r>
            <a:r>
              <a:rPr lang="en-US" sz="2000" dirty="0" err="1" smtClean="0"/>
              <a:t>éfis</a:t>
            </a:r>
            <a:r>
              <a:rPr lang="en-US" sz="2000" dirty="0" smtClean="0"/>
              <a:t> </a:t>
            </a:r>
            <a:r>
              <a:rPr lang="en-US" sz="2000" dirty="0" smtClean="0"/>
              <a:t>pour la </a:t>
            </a:r>
            <a:r>
              <a:rPr lang="en-US" sz="2000" dirty="0" err="1" smtClean="0"/>
              <a:t>dégradation</a:t>
            </a:r>
            <a:r>
              <a:rPr lang="en-US" sz="2000" dirty="0" smtClean="0"/>
              <a:t> </a:t>
            </a:r>
            <a:r>
              <a:rPr lang="en-US" sz="2000" dirty="0" smtClean="0"/>
              <a:t>de services </a:t>
            </a:r>
            <a:r>
              <a:rPr lang="en-US" sz="2000" dirty="0" smtClean="0"/>
              <a:t>sont comme suit;</a:t>
            </a:r>
            <a:endParaRPr lang="en-US" sz="2000" dirty="0"/>
          </a:p>
          <a:p>
            <a:pPr marL="311012" lvl="1" indent="-2286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en-US" sz="2000" dirty="0" smtClean="0"/>
              <a:t> </a:t>
            </a:r>
            <a:r>
              <a:rPr lang="en-US" sz="2000" dirty="0" err="1" smtClean="0"/>
              <a:t>Vols</a:t>
            </a:r>
            <a:r>
              <a:rPr lang="en-US" sz="2000" dirty="0" smtClean="0"/>
              <a:t> de </a:t>
            </a:r>
            <a:r>
              <a:rPr lang="en-US" sz="2000" dirty="0" err="1" smtClean="0"/>
              <a:t>batterie</a:t>
            </a:r>
            <a:r>
              <a:rPr lang="en-US" sz="2000" dirty="0" smtClean="0"/>
              <a:t> de </a:t>
            </a:r>
            <a:r>
              <a:rPr lang="en-US" sz="2000" dirty="0" err="1" smtClean="0"/>
              <a:t>sauvegarde</a:t>
            </a:r>
            <a:r>
              <a:rPr lang="en-US" sz="2000" dirty="0" smtClean="0"/>
              <a:t> et de </a:t>
            </a:r>
            <a:r>
              <a:rPr lang="en-US" sz="2000" dirty="0" smtClean="0"/>
              <a:t>carburant </a:t>
            </a:r>
            <a:endParaRPr lang="en-US" sz="2000" dirty="0"/>
          </a:p>
          <a:p>
            <a:pPr marL="311012" lvl="1" indent="-2286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en-US" sz="2000" dirty="0" smtClean="0"/>
              <a:t> </a:t>
            </a:r>
            <a:r>
              <a:rPr lang="en-US" sz="2000" dirty="0" err="1" smtClean="0"/>
              <a:t>Disponibilité</a:t>
            </a:r>
            <a:r>
              <a:rPr lang="en-US" sz="2000" dirty="0" smtClean="0"/>
              <a:t> de grille</a:t>
            </a:r>
            <a:endParaRPr lang="en-US" sz="2000" dirty="0"/>
          </a:p>
          <a:p>
            <a:pPr marL="311012" lvl="1" indent="-2286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en-US" sz="2000" dirty="0" smtClean="0"/>
              <a:t>  </a:t>
            </a:r>
            <a:r>
              <a:rPr lang="en-US" sz="2000" dirty="0" err="1" smtClean="0"/>
              <a:t>Travaux</a:t>
            </a:r>
            <a:r>
              <a:rPr lang="en-US" sz="2000" dirty="0" smtClean="0"/>
              <a:t> </a:t>
            </a:r>
            <a:r>
              <a:rPr lang="en-US" sz="2000" dirty="0" err="1" smtClean="0"/>
              <a:t>routiers</a:t>
            </a:r>
            <a:r>
              <a:rPr lang="en-US" sz="2000" dirty="0" smtClean="0"/>
              <a:t> </a:t>
            </a:r>
            <a:r>
              <a:rPr lang="en-US" sz="2000" dirty="0" err="1" smtClean="0"/>
              <a:t>affectant</a:t>
            </a:r>
            <a:r>
              <a:rPr lang="en-US" sz="2000" dirty="0" smtClean="0"/>
              <a:t> les </a:t>
            </a:r>
            <a:r>
              <a:rPr lang="en-US" sz="2000" dirty="0" err="1" smtClean="0"/>
              <a:t>fibres</a:t>
            </a:r>
            <a:r>
              <a:rPr lang="en-US" sz="2000" dirty="0" smtClean="0"/>
              <a:t> </a:t>
            </a:r>
            <a:r>
              <a:rPr lang="en-US" sz="2000" dirty="0" err="1"/>
              <a:t>optiques</a:t>
            </a:r>
            <a:r>
              <a:rPr lang="en-US" sz="2000" dirty="0"/>
              <a:t> </a:t>
            </a:r>
            <a:r>
              <a:rPr lang="en-US" sz="2000" dirty="0" err="1" smtClean="0"/>
              <a:t>souterraines</a:t>
            </a:r>
            <a:endParaRPr lang="en-US" sz="2000" dirty="0"/>
          </a:p>
          <a:p>
            <a:pPr marL="311012" lvl="1" indent="-2286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/>
            </a:pPr>
            <a:r>
              <a:rPr lang="en-US" sz="2000" dirty="0" smtClean="0"/>
              <a:t> Pannes de courant </a:t>
            </a:r>
            <a:r>
              <a:rPr lang="en-US" sz="2000" dirty="0" smtClean="0"/>
              <a:t> </a:t>
            </a:r>
            <a:r>
              <a:rPr lang="en-US" sz="2000" dirty="0" err="1" smtClean="0"/>
              <a:t>affectant</a:t>
            </a:r>
            <a:r>
              <a:rPr lang="en-US" sz="2000" dirty="0" smtClean="0"/>
              <a:t> les </a:t>
            </a:r>
            <a:r>
              <a:rPr lang="en-US" sz="2000" dirty="0" err="1" smtClean="0"/>
              <a:t>f</a:t>
            </a:r>
            <a:r>
              <a:rPr lang="en-US" sz="2000" dirty="0" err="1" smtClean="0"/>
              <a:t>ibre</a:t>
            </a:r>
            <a:r>
              <a:rPr lang="en-US" sz="2000" dirty="0" err="1" smtClean="0"/>
              <a:t>s</a:t>
            </a:r>
            <a:r>
              <a:rPr lang="en-US" sz="2000" dirty="0" err="1" smtClean="0"/>
              <a:t>optiques</a:t>
            </a:r>
            <a:r>
              <a:rPr lang="en-US" sz="2000" dirty="0" smtClean="0"/>
              <a:t> </a:t>
            </a:r>
            <a:r>
              <a:rPr lang="en-US" sz="2000" dirty="0" err="1" smtClean="0"/>
              <a:t>louées</a:t>
            </a:r>
            <a:r>
              <a:rPr lang="en-US" sz="2000" dirty="0" smtClean="0"/>
              <a:t> chez  </a:t>
            </a:r>
            <a:r>
              <a:rPr lang="en-US" sz="2000" dirty="0" smtClean="0"/>
              <a:t>Zesco </a:t>
            </a:r>
            <a:endParaRPr lang="en-US" sz="20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1229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15375" y="6470650"/>
            <a:ext cx="428625" cy="36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762" indent="-28529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1172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641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110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0578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7049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3517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9986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FBD4167-40C7-4FB2-B7F5-56B78460C9D0}" type="slidenum">
              <a:rPr lang="en-ZA" altLang="zh-CN">
                <a:solidFill>
                  <a:schemeClr val="bg1"/>
                </a:solidFill>
                <a:latin typeface="Verdana" pitchFamily="34" charset="0"/>
              </a:rPr>
              <a:pPr eaLnBrk="1" hangingPunct="1"/>
              <a:t>3</a:t>
            </a:fld>
            <a:endParaRPr lang="en-ZA" altLang="zh-CN">
              <a:solidFill>
                <a:schemeClr val="bg1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287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2400" b="1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Faits saillant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914400"/>
            <a:ext cx="9144000" cy="5514996"/>
          </a:xfrm>
        </p:spPr>
        <p:txBody>
          <a:bodyPr/>
          <a:lstStyle/>
          <a:p>
            <a:r>
              <a:rPr lang="en-US" dirty="0" smtClean="0"/>
              <a:t>Afin d'assurer le maintien de la haute disponibilité du réseau en dépit de </a:t>
            </a:r>
            <a:r>
              <a:rPr lang="en-US" dirty="0" err="1" smtClean="0"/>
              <a:t>défis</a:t>
            </a:r>
            <a:r>
              <a:rPr lang="en-US" dirty="0" smtClean="0"/>
              <a:t> </a:t>
            </a:r>
            <a:r>
              <a:rPr lang="en-US" dirty="0" err="1" smtClean="0"/>
              <a:t>énergetiques</a:t>
            </a:r>
            <a:r>
              <a:rPr lang="en-US" dirty="0" smtClean="0"/>
              <a:t>,</a:t>
            </a:r>
            <a:r>
              <a:rPr lang="en-US" dirty="0" smtClean="0"/>
              <a:t> </a:t>
            </a:r>
            <a:r>
              <a:rPr lang="en-US" dirty="0" smtClean="0"/>
              <a:t>n</a:t>
            </a:r>
            <a:r>
              <a:rPr lang="en-US" dirty="0" smtClean="0"/>
              <a:t>ous </a:t>
            </a:r>
            <a:r>
              <a:rPr lang="en-US" dirty="0" err="1" smtClean="0"/>
              <a:t>avons</a:t>
            </a:r>
            <a:r>
              <a:rPr lang="en-US" dirty="0" smtClean="0"/>
              <a:t> </a:t>
            </a:r>
            <a:r>
              <a:rPr lang="en-US" dirty="0" err="1" smtClean="0"/>
              <a:t>rapidement</a:t>
            </a:r>
            <a:r>
              <a:rPr lang="en-US" dirty="0" smtClean="0"/>
              <a:t> </a:t>
            </a:r>
            <a:r>
              <a:rPr lang="en-US" dirty="0" err="1" smtClean="0"/>
              <a:t>alloué</a:t>
            </a:r>
            <a:r>
              <a:rPr lang="en-US" dirty="0" smtClean="0"/>
              <a:t> le </a:t>
            </a:r>
            <a:r>
              <a:rPr lang="en-US" dirty="0" err="1" smtClean="0"/>
              <a:t>réseau</a:t>
            </a:r>
            <a:r>
              <a:rPr lang="en-US" dirty="0" smtClean="0"/>
              <a:t> </a:t>
            </a:r>
            <a:r>
              <a:rPr lang="en-US" dirty="0" err="1" smtClean="0"/>
              <a:t>passif</a:t>
            </a:r>
            <a:r>
              <a:rPr lang="en-US" dirty="0" smtClean="0"/>
              <a:t> </a:t>
            </a:r>
            <a:r>
              <a:rPr lang="en-US" dirty="0" smtClean="0"/>
              <a:t>à </a:t>
            </a:r>
            <a:r>
              <a:rPr lang="en-US" dirty="0" err="1" smtClean="0"/>
              <a:t>une</a:t>
            </a:r>
            <a:r>
              <a:rPr lang="en-US" dirty="0" smtClean="0"/>
              <a:t> </a:t>
            </a:r>
            <a:r>
              <a:rPr lang="en-US" dirty="0" err="1" smtClean="0"/>
              <a:t>société</a:t>
            </a:r>
            <a:r>
              <a:rPr lang="en-US" dirty="0" smtClean="0"/>
              <a:t> de tour </a:t>
            </a:r>
            <a:r>
              <a:rPr lang="en-US" dirty="0" smtClean="0"/>
              <a:t> </a:t>
            </a:r>
            <a:r>
              <a:rPr lang="en-US" dirty="0" smtClean="0"/>
              <a:t>dont la seule responsabilité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d’assurer</a:t>
            </a:r>
            <a:r>
              <a:rPr lang="en-US" dirty="0" smtClean="0"/>
              <a:t> </a:t>
            </a:r>
            <a:r>
              <a:rPr lang="en-US" dirty="0" err="1" smtClean="0"/>
              <a:t>l’énergie</a:t>
            </a:r>
            <a:r>
              <a:rPr lang="en-US" dirty="0" smtClean="0"/>
              <a:t> 24/7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 smtClean="0"/>
              <a:t>Nous </a:t>
            </a:r>
            <a:r>
              <a:rPr lang="en-US" dirty="0" err="1" smtClean="0"/>
              <a:t>avons</a:t>
            </a:r>
            <a:r>
              <a:rPr lang="en-US" dirty="0" smtClean="0"/>
              <a:t> </a:t>
            </a:r>
            <a:r>
              <a:rPr lang="en-US" dirty="0" err="1" smtClean="0"/>
              <a:t>investi</a:t>
            </a:r>
            <a:r>
              <a:rPr lang="en-US" dirty="0" smtClean="0"/>
              <a:t> </a:t>
            </a:r>
            <a:r>
              <a:rPr lang="en-US" dirty="0" smtClean="0"/>
              <a:t>dans des outils d'optimisation du réseau et </a:t>
            </a:r>
            <a:r>
              <a:rPr lang="en-US" dirty="0" err="1" smtClean="0"/>
              <a:t>externalisé</a:t>
            </a:r>
            <a:r>
              <a:rPr lang="en-US" dirty="0" smtClean="0"/>
              <a:t> des </a:t>
            </a:r>
            <a:r>
              <a:rPr lang="en-US" dirty="0" smtClean="0"/>
              <a:t>opérations du réseau, de sorte que nous </a:t>
            </a:r>
            <a:r>
              <a:rPr lang="en-US" dirty="0" err="1" smtClean="0"/>
              <a:t>puissions</a:t>
            </a:r>
            <a:r>
              <a:rPr lang="en-US" dirty="0" smtClean="0"/>
              <a:t> </a:t>
            </a:r>
            <a:r>
              <a:rPr lang="en-US" dirty="0" err="1" smtClean="0"/>
              <a:t>superviser</a:t>
            </a:r>
            <a:r>
              <a:rPr lang="en-US" dirty="0" smtClean="0"/>
              <a:t> les KPIs du</a:t>
            </a:r>
            <a:r>
              <a:rPr lang="en-US" dirty="0" smtClean="0"/>
              <a:t> </a:t>
            </a:r>
            <a:r>
              <a:rPr lang="en-US" dirty="0" err="1" smtClean="0"/>
              <a:t>réseaudans</a:t>
            </a:r>
            <a:r>
              <a:rPr lang="en-US" dirty="0" smtClean="0"/>
              <a:t> </a:t>
            </a:r>
            <a:r>
              <a:rPr lang="en-US" dirty="0" smtClean="0"/>
              <a:t>un modèle de prestation de services à </a:t>
            </a:r>
            <a:r>
              <a:rPr lang="en-US" dirty="0" err="1" smtClean="0"/>
              <a:t>deux</a:t>
            </a:r>
            <a:r>
              <a:rPr lang="en-US" dirty="0" smtClean="0"/>
              <a:t> </a:t>
            </a:r>
            <a:r>
              <a:rPr lang="en-US" dirty="0" smtClean="0"/>
              <a:t>couches, à </a:t>
            </a:r>
            <a:r>
              <a:rPr lang="en-US" dirty="0" err="1" smtClean="0"/>
              <a:t>savoit</a:t>
            </a:r>
            <a:r>
              <a:rPr lang="en-US" dirty="0" smtClean="0"/>
              <a:t> au </a:t>
            </a:r>
            <a:r>
              <a:rPr lang="en-US" dirty="0" err="1" smtClean="0"/>
              <a:t>sein</a:t>
            </a:r>
            <a:r>
              <a:rPr lang="en-US" dirty="0" smtClean="0"/>
              <a:t> de MTN et le </a:t>
            </a:r>
            <a:r>
              <a:rPr lang="en-US" dirty="0" err="1" smtClean="0"/>
              <a:t>revendeur</a:t>
            </a:r>
            <a:r>
              <a:rPr lang="en-US" dirty="0" smtClean="0"/>
              <a:t> de services </a:t>
            </a:r>
            <a:r>
              <a:rPr lang="en-US" dirty="0" err="1" smtClean="0"/>
              <a:t>agrée</a:t>
            </a:r>
            <a:r>
              <a:rPr lang="en-US" dirty="0" smtClean="0"/>
              <a:t>.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Des analyses comparatives </a:t>
            </a:r>
            <a:r>
              <a:rPr lang="en-US" dirty="0" err="1" smtClean="0"/>
              <a:t>indépendantes</a:t>
            </a:r>
            <a:r>
              <a:rPr lang="en-US" dirty="0" smtClean="0"/>
              <a:t> </a:t>
            </a:r>
            <a:r>
              <a:rPr lang="en-US" dirty="0" err="1" smtClean="0"/>
              <a:t>sont</a:t>
            </a:r>
            <a:r>
              <a:rPr lang="en-US" dirty="0" smtClean="0"/>
              <a:t> </a:t>
            </a:r>
            <a:r>
              <a:rPr lang="en-US" dirty="0" err="1" smtClean="0"/>
              <a:t>effectuées</a:t>
            </a:r>
            <a:r>
              <a:rPr lang="en-US" dirty="0" smtClean="0"/>
              <a:t> </a:t>
            </a:r>
            <a:r>
              <a:rPr lang="en-US" dirty="0" smtClean="0"/>
              <a:t>périodiquement pour surveiller la qualité de service (QOS) non seulement localement, mais aussi avec les meilleurs dans l'industrie.</a:t>
            </a:r>
            <a:endParaRPr lang="en-US" dirty="0"/>
          </a:p>
        </p:txBody>
      </p:sp>
      <p:sp>
        <p:nvSpPr>
          <p:cNvPr id="1229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15375" y="6470650"/>
            <a:ext cx="428625" cy="36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762" indent="-28529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1172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641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110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0578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7049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3517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9986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FBD4167-40C7-4FB2-B7F5-56B78460C9D0}" type="slidenum">
              <a:rPr lang="en-ZA" altLang="zh-CN">
                <a:solidFill>
                  <a:schemeClr val="bg1"/>
                </a:solidFill>
                <a:latin typeface="Verdana" pitchFamily="34" charset="0"/>
              </a:rPr>
              <a:pPr eaLnBrk="1" hangingPunct="1"/>
              <a:t>4</a:t>
            </a:fld>
            <a:endParaRPr lang="en-ZA" altLang="zh-CN">
              <a:solidFill>
                <a:schemeClr val="bg1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2400" b="1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rPr>
              <a:t>Faits saillant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0" y="914400"/>
            <a:ext cx="9144000" cy="5514996"/>
          </a:xfrm>
        </p:spPr>
        <p:txBody>
          <a:bodyPr/>
          <a:lstStyle/>
          <a:p>
            <a:r>
              <a:rPr lang="en-US" dirty="0" smtClean="0"/>
              <a:t>Les diapos suivantes </a:t>
            </a:r>
            <a:r>
              <a:rPr lang="en-US" dirty="0" err="1" smtClean="0"/>
              <a:t>montrent</a:t>
            </a:r>
            <a:r>
              <a:rPr lang="en-US" dirty="0" smtClean="0"/>
              <a:t> </a:t>
            </a:r>
            <a:r>
              <a:rPr lang="en-US" dirty="0" smtClean="0"/>
              <a:t>les </a:t>
            </a:r>
            <a:r>
              <a:rPr lang="en-US" dirty="0" err="1" smtClean="0"/>
              <a:t>échantillons</a:t>
            </a:r>
            <a:r>
              <a:rPr lang="en-US" dirty="0" smtClean="0"/>
              <a:t> de KPI 2015 </a:t>
            </a:r>
            <a:r>
              <a:rPr lang="en-US" dirty="0" err="1" smtClean="0"/>
              <a:t>réalisés</a:t>
            </a:r>
            <a:r>
              <a:rPr lang="en-US" dirty="0" smtClean="0"/>
              <a:t> </a:t>
            </a:r>
            <a:r>
              <a:rPr lang="en-US" dirty="0" smtClean="0"/>
              <a:t>par MTN et les interventions effectuées pour s'assurer que la dégradation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résorbée</a:t>
            </a:r>
            <a:r>
              <a:rPr lang="en-US" dirty="0" smtClean="0"/>
              <a:t> </a:t>
            </a:r>
            <a:r>
              <a:rPr lang="en-US" dirty="0" smtClean="0"/>
              <a:t>avec diligence.</a:t>
            </a:r>
            <a:endParaRPr lang="en-US" dirty="0"/>
          </a:p>
        </p:txBody>
      </p:sp>
      <p:sp>
        <p:nvSpPr>
          <p:cNvPr id="12291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15375" y="6470650"/>
            <a:ext cx="428625" cy="3651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762" indent="-28529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1172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641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110" indent="-228236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0578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7049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3517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9986" indent="-22823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FBD4167-40C7-4FB2-B7F5-56B78460C9D0}" type="slidenum">
              <a:rPr lang="en-ZA" altLang="zh-CN">
                <a:solidFill>
                  <a:schemeClr val="bg1"/>
                </a:solidFill>
                <a:latin typeface="Verdana" pitchFamily="34" charset="0"/>
              </a:rPr>
              <a:pPr eaLnBrk="1" hangingPunct="1"/>
              <a:t>5</a:t>
            </a:fld>
            <a:endParaRPr lang="en-ZA" altLang="zh-CN">
              <a:solidFill>
                <a:schemeClr val="bg1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23393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417638"/>
          </a:xfrm>
          <a:solidFill>
            <a:srgbClr val="FFC000"/>
          </a:solidFill>
        </p:spPr>
        <p:txBody>
          <a:bodyPr/>
          <a:lstStyle/>
          <a:p>
            <a:r>
              <a:rPr lang="en-US" sz="2400" dirty="0" smtClean="0"/>
              <a:t>L'IHS-MTN</a:t>
            </a:r>
            <a:r>
              <a:rPr lang="en-US" sz="2800" dirty="0" smtClean="0"/>
              <a:t> La disponibilité du réseau par jour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94412" y="1410716"/>
            <a:ext cx="8074307" cy="4538564"/>
          </a:xfrm>
        </p:spPr>
        <p:txBody>
          <a:bodyPr/>
          <a:lstStyle/>
          <a:p>
            <a:r>
              <a:rPr lang="en-US" sz="1600" dirty="0" smtClean="0"/>
              <a:t>L'amélioration très rapide dans la disponibilité dans le premier mois après la fermeture</a:t>
            </a:r>
            <a:endParaRPr lang="en-US" sz="1600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097978041"/>
              </p:ext>
            </p:extLst>
          </p:nvPr>
        </p:nvGraphicFramePr>
        <p:xfrm>
          <a:off x="0" y="2057400"/>
          <a:ext cx="9144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3507273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0" y="214313"/>
            <a:ext cx="7715250" cy="5715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altLang="zh-CN" sz="2400" dirty="0" smtClean="0"/>
              <a:t>TCH Disponibilité - Décembre 2015</a:t>
            </a:r>
            <a:endParaRPr lang="zh-CN" altLang="en-US" sz="2400" dirty="0" smtClean="0"/>
          </a:p>
        </p:txBody>
      </p:sp>
      <p:sp>
        <p:nvSpPr>
          <p:cNvPr id="33796" name="灯片编号占位符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E38122E-84DA-4C1A-AF2E-3D336023920B}" type="slidenum">
              <a:rPr lang="en-ZA" altLang="zh-CN" smtClean="0">
                <a:solidFill>
                  <a:prstClr val="white"/>
                </a:solidFill>
              </a:rPr>
              <a:pPr/>
              <a:t>7</a:t>
            </a:fld>
            <a:endParaRPr lang="en-ZA" altLang="zh-CN" smtClean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3962400"/>
            <a:ext cx="3200400" cy="2831544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72727"/>
                </a:solidFill>
              </a:rPr>
              <a:t>7 décembre 2015</a:t>
            </a:r>
          </a:p>
          <a:p>
            <a:pPr algn="ctr"/>
            <a:endParaRPr lang="en-US" sz="800" dirty="0" smtClean="0">
              <a:solidFill>
                <a:srgbClr val="272727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éfaillance de fibres entre Chililabombwe OSN et Kabundi OSN qui a touché 14 sites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BTS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ue à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vandalisation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de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fibr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uré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de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pan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: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2hrs</a:t>
            </a:r>
            <a:endParaRPr lang="en-US" sz="10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16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00400" y="3962400"/>
            <a:ext cx="3048000" cy="2400657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72727"/>
                </a:solidFill>
              </a:rPr>
              <a:t>11e / 12e Décembre 2015</a:t>
            </a:r>
          </a:p>
          <a:p>
            <a:pPr algn="ctr"/>
            <a:endParaRPr lang="en-US" sz="800" dirty="0" smtClean="0">
              <a:solidFill>
                <a:srgbClr val="272727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Toutes les provinces touchées par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pan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nationale.de courant.</a:t>
            </a:r>
            <a:endParaRPr lang="en-US" sz="14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8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en-US" sz="1400" dirty="0" smtClean="0">
              <a:solidFill>
                <a:srgbClr val="000000"/>
              </a:solidFill>
              <a:latin typeface="Calibri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8400" y="3962401"/>
            <a:ext cx="2895600" cy="2339102"/>
          </a:xfrm>
          <a:prstGeom prst="rect">
            <a:avLst/>
          </a:prstGeom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72727"/>
                </a:solidFill>
              </a:rPr>
              <a:t>22</a:t>
            </a:r>
            <a:r>
              <a:rPr lang="en-US" sz="1200" baseline="30000" dirty="0" smtClean="0">
                <a:solidFill>
                  <a:srgbClr val="272727"/>
                </a:solidFill>
              </a:rPr>
              <a:t>Nd</a:t>
            </a:r>
            <a:r>
              <a:rPr lang="en-US" sz="1200" dirty="0" smtClean="0">
                <a:solidFill>
                  <a:srgbClr val="272727"/>
                </a:solidFill>
              </a:rPr>
              <a:t> / 23</a:t>
            </a:r>
            <a:r>
              <a:rPr lang="en-US" sz="1200" baseline="30000" dirty="0" smtClean="0">
                <a:solidFill>
                  <a:srgbClr val="272727"/>
                </a:solidFill>
              </a:rPr>
              <a:t>Rd</a:t>
            </a:r>
            <a:r>
              <a:rPr lang="en-US" sz="1200" dirty="0" smtClean="0">
                <a:solidFill>
                  <a:srgbClr val="272727"/>
                </a:solidFill>
              </a:rPr>
              <a:t> Déc 2015</a:t>
            </a:r>
          </a:p>
          <a:p>
            <a:pPr algn="ctr"/>
            <a:endParaRPr lang="en-US" sz="800" dirty="0" smtClean="0">
              <a:solidFill>
                <a:srgbClr val="272727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Toutes les provinces touchées par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pan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national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de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courant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à l'exception du sud de la province.</a:t>
            </a:r>
          </a:p>
          <a:p>
            <a:pPr>
              <a:buFont typeface="Wingdings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KSM BSC échec-187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sites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affectés.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Itinerair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de la protection de l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fibr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Zesco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/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l’épi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orsal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en micro-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ond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a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été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touché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entraînant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u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pann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nationale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 </a:t>
            </a:r>
            <a:r>
              <a:rPr lang="en-US" sz="1400" dirty="0" err="1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'électricité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Calibri"/>
                <a:cs typeface="Calibri" pitchFamily="34" charset="0"/>
              </a:rPr>
              <a:t>Durée : 2h 50min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/>
        </p:nvGraphicFramePr>
        <p:xfrm>
          <a:off x="0" y="990601"/>
          <a:ext cx="9144000" cy="2819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7" name="Straight Connector 16"/>
          <p:cNvCxnSpPr>
            <a:stCxn id="8" idx="0"/>
          </p:cNvCxnSpPr>
          <p:nvPr/>
        </p:nvCxnSpPr>
        <p:spPr>
          <a:xfrm rot="5400000" flipH="1" flipV="1">
            <a:off x="1295400" y="2743200"/>
            <a:ext cx="1524000" cy="914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9" idx="0"/>
          </p:cNvCxnSpPr>
          <p:nvPr/>
        </p:nvCxnSpPr>
        <p:spPr>
          <a:xfrm flipH="1" flipV="1">
            <a:off x="3962400" y="3124200"/>
            <a:ext cx="762000" cy="8382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6477000" y="1905000"/>
            <a:ext cx="1219200" cy="609600"/>
          </a:xfrm>
          <a:prstGeom prst="ellipse">
            <a:avLst/>
          </a:prstGeom>
          <a:solidFill>
            <a:srgbClr val="272727">
              <a:alpha val="0"/>
            </a:srgbClr>
          </a:solidFill>
          <a:ln w="25400" cap="flat" cmpd="sng" algn="ctr">
            <a:solidFill>
              <a:srgbClr val="272727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25" name="Straight Connector 24"/>
          <p:cNvCxnSpPr>
            <a:stCxn id="23" idx="4"/>
            <a:endCxn id="10" idx="0"/>
          </p:cNvCxnSpPr>
          <p:nvPr/>
        </p:nvCxnSpPr>
        <p:spPr>
          <a:xfrm rot="16200000" flipH="1">
            <a:off x="6667500" y="2933700"/>
            <a:ext cx="1447801" cy="609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359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8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en-ZA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ZA" sz="2586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verture</a:t>
            </a:r>
            <a:r>
              <a:rPr lang="en-ZA" sz="2586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ZA" sz="2586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G§3G</a:t>
            </a:r>
            <a:endParaRPr lang="en-ZA" sz="2586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68021" y="1395527"/>
            <a:ext cx="2726537" cy="1658831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outes les villes généralement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mesurées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bénéficien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de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bon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échantillon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de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ouverture 2G (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Rxlev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&gt;-90dBm) au-dessus de 95 %.</a:t>
            </a:r>
          </a:p>
          <a:p>
            <a:pPr defTabSz="42155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es échantillons étaient un mélange de GSM900 et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CS1800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67525" y="4308068"/>
            <a:ext cx="2576973" cy="1559509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ation générale de la couverture 3G (RSCP KPI -95dBm)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enregistré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après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optimisation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altLang="zh-CN" sz="1293" dirty="0">
              <a:solidFill>
                <a:srgbClr val="000000"/>
              </a:solidFill>
              <a:ea typeface="宋体"/>
              <a:cs typeface="Calibri" pitchFamily="34" charset="0"/>
            </a:endParaRPr>
          </a:p>
        </p:txBody>
      </p:sp>
      <p:graphicFrame>
        <p:nvGraphicFramePr>
          <p:cNvPr id="10" name="图表 5"/>
          <p:cNvGraphicFramePr/>
          <p:nvPr>
            <p:extLst>
              <p:ext uri="{D42A27DB-BD31-4B8C-83A1-F6EECF244321}">
                <p14:modId xmlns="" xmlns:p14="http://schemas.microsoft.com/office/powerpoint/2010/main" val="2322425942"/>
              </p:ext>
            </p:extLst>
          </p:nvPr>
        </p:nvGraphicFramePr>
        <p:xfrm>
          <a:off x="212512" y="968467"/>
          <a:ext cx="5918580" cy="285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5"/>
          <p:cNvGraphicFramePr/>
          <p:nvPr/>
        </p:nvGraphicFramePr>
        <p:xfrm>
          <a:off x="182942" y="3828005"/>
          <a:ext cx="5918580" cy="2593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8206222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0" y="262247"/>
            <a:ext cx="9144000" cy="518996"/>
          </a:xfrm>
          <a:solidFill>
            <a:srgbClr val="FFC000"/>
          </a:solidFill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84447" tIns="42223" rIns="84447" bIns="42223" numCol="1" anchor="ctr" anchorCtr="0" compatLnSpc="1">
            <a:prstTxWarp prst="textNoShape">
              <a:avLst/>
            </a:prstTxWarp>
          </a:bodyPr>
          <a:lstStyle/>
          <a:p>
            <a:r>
              <a:rPr lang="en-ZA" sz="2586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en-ZA" sz="2586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G &amp; 3G QUALITÉ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68021" y="1664258"/>
            <a:ext cx="2975979" cy="1559509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près le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proje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de la 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planification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à nouveau de la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fréquence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, la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q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ualité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2G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’es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elioré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(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RxQual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 &lt;=4)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an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toutes les principales villes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01024" y="4688646"/>
            <a:ext cx="2709975" cy="1261030"/>
          </a:xfrm>
          <a:prstGeom prst="rect">
            <a:avLst/>
          </a:prstGeom>
          <a:noFill/>
        </p:spPr>
        <p:txBody>
          <a:bodyPr wrap="square" lIns="33232" tIns="33232" rIns="33232" bIns="33232" rtlCol="0" anchor="ctr" anchorCtr="0">
            <a:spAutoFit/>
          </a:bodyPr>
          <a:lstStyle/>
          <a:p>
            <a:pPr defTabSz="421558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La 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qualité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3G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s’est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 err="1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améliorée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(</a:t>
            </a:r>
            <a:r>
              <a:rPr lang="en-US" altLang="zh-CN" sz="1293" dirty="0" err="1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Ce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/io &gt;-14 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dB </a:t>
            </a:r>
            <a:r>
              <a:rPr lang="en-US" altLang="zh-CN" sz="1293" dirty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à Kitwe, Lusaka, Chingola et de Ndola</a:t>
            </a:r>
            <a:r>
              <a:rPr lang="en-US" altLang="zh-CN" sz="1293" dirty="0" smtClean="0">
                <a:solidFill>
                  <a:srgbClr val="000000"/>
                </a:solidFill>
                <a:latin typeface="+mn-lt"/>
                <a:ea typeface="宋体"/>
                <a:cs typeface="Calibri" pitchFamily="34" charset="0"/>
              </a:rPr>
              <a:t>.</a:t>
            </a:r>
            <a:endParaRPr lang="en-US" altLang="zh-CN" sz="1293" dirty="0">
              <a:solidFill>
                <a:srgbClr val="000000"/>
              </a:solidFill>
              <a:latin typeface="+mn-lt"/>
              <a:ea typeface="宋体"/>
              <a:cs typeface="Calibri" pitchFamily="34" charset="0"/>
            </a:endParaRPr>
          </a:p>
        </p:txBody>
      </p:sp>
      <p:graphicFrame>
        <p:nvGraphicFramePr>
          <p:cNvPr id="10" name="图表 5"/>
          <p:cNvGraphicFramePr/>
          <p:nvPr/>
        </p:nvGraphicFramePr>
        <p:xfrm>
          <a:off x="182941" y="835466"/>
          <a:ext cx="5852079" cy="2859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图表 5"/>
          <p:cNvGraphicFramePr/>
          <p:nvPr/>
        </p:nvGraphicFramePr>
        <p:xfrm>
          <a:off x="182942" y="3761504"/>
          <a:ext cx="5852079" cy="2660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865262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TN Theme">
  <a:themeElements>
    <a:clrScheme name="MTN">
      <a:dk1>
        <a:srgbClr val="272727"/>
      </a:dk1>
      <a:lt1>
        <a:sysClr val="window" lastClr="FFFFFF"/>
      </a:lt1>
      <a:dk2>
        <a:srgbClr val="005883"/>
      </a:dk2>
      <a:lt2>
        <a:srgbClr val="FFD166"/>
      </a:lt2>
      <a:accent1>
        <a:srgbClr val="FFB300"/>
      </a:accent1>
      <a:accent2>
        <a:srgbClr val="272727"/>
      </a:accent2>
      <a:accent3>
        <a:srgbClr val="005883"/>
      </a:accent3>
      <a:accent4>
        <a:srgbClr val="FFD166"/>
      </a:accent4>
      <a:accent5>
        <a:srgbClr val="BB0000"/>
      </a:accent5>
      <a:accent6>
        <a:srgbClr val="B3B3B3"/>
      </a:accent6>
      <a:hlink>
        <a:srgbClr val="005883"/>
      </a:hlink>
      <a:folHlink>
        <a:srgbClr val="669BB5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TN Theme">
  <a:themeElements>
    <a:clrScheme name="MTN">
      <a:dk1>
        <a:srgbClr val="272727"/>
      </a:dk1>
      <a:lt1>
        <a:sysClr val="window" lastClr="FFFFFF"/>
      </a:lt1>
      <a:dk2>
        <a:srgbClr val="005883"/>
      </a:dk2>
      <a:lt2>
        <a:srgbClr val="FFD166"/>
      </a:lt2>
      <a:accent1>
        <a:srgbClr val="FFB300"/>
      </a:accent1>
      <a:accent2>
        <a:srgbClr val="272727"/>
      </a:accent2>
      <a:accent3>
        <a:srgbClr val="005883"/>
      </a:accent3>
      <a:accent4>
        <a:srgbClr val="FFD166"/>
      </a:accent4>
      <a:accent5>
        <a:srgbClr val="BB0000"/>
      </a:accent5>
      <a:accent6>
        <a:srgbClr val="B3B3B3"/>
      </a:accent6>
      <a:hlink>
        <a:srgbClr val="005883"/>
      </a:hlink>
      <a:folHlink>
        <a:srgbClr val="669BB5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MTN CLASSIC THEME">
  <a:themeElements>
    <a:clrScheme name="MTN">
      <a:dk1>
        <a:srgbClr val="212120"/>
      </a:dk1>
      <a:lt1>
        <a:srgbClr val="FFFFFF"/>
      </a:lt1>
      <a:dk2>
        <a:srgbClr val="7B7B77"/>
      </a:dk2>
      <a:lt2>
        <a:srgbClr val="CDCDCD"/>
      </a:lt2>
      <a:accent1>
        <a:srgbClr val="006281"/>
      </a:accent1>
      <a:accent2>
        <a:srgbClr val="676767"/>
      </a:accent2>
      <a:accent3>
        <a:srgbClr val="FDC426"/>
      </a:accent3>
      <a:accent4>
        <a:srgbClr val="E5322C"/>
      </a:accent4>
      <a:accent5>
        <a:srgbClr val="0095C4"/>
      </a:accent5>
      <a:accent6>
        <a:srgbClr val="9F9F9F"/>
      </a:accent6>
      <a:hlink>
        <a:srgbClr val="1F497D"/>
      </a:hlink>
      <a:folHlink>
        <a:srgbClr val="0095C4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F0CB225BCB3B43BBF518EAC6349114" ma:contentTypeVersion="1" ma:contentTypeDescription="Create a new document." ma:contentTypeScope="" ma:versionID="ddcbcc257c6bc73a33760c3314f23b40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d8b0b90613641d2007733df16481c6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EA121AF-E8A3-4D02-A136-BBB88CC14644}"/>
</file>

<file path=customXml/itemProps2.xml><?xml version="1.0" encoding="utf-8"?>
<ds:datastoreItem xmlns:ds="http://schemas.openxmlformats.org/officeDocument/2006/customXml" ds:itemID="{2BCEB265-4159-4756-A6B1-00D96BBE879D}"/>
</file>

<file path=customXml/itemProps3.xml><?xml version="1.0" encoding="utf-8"?>
<ds:datastoreItem xmlns:ds="http://schemas.openxmlformats.org/officeDocument/2006/customXml" ds:itemID="{9A3D53F4-1F6C-47A7-BDB0-102B2EA1139F}"/>
</file>

<file path=docProps/app.xml><?xml version="1.0" encoding="utf-8"?>
<Properties xmlns="http://schemas.openxmlformats.org/officeDocument/2006/extended-properties" xmlns:vt="http://schemas.openxmlformats.org/officeDocument/2006/docPropsVTypes">
  <TotalTime>92082</TotalTime>
  <Words>766</Words>
  <Application>Microsoft Office PowerPoint</Application>
  <PresentationFormat>Affichage à l'écran (4:3)</PresentationFormat>
  <Paragraphs>124</Paragraphs>
  <Slides>15</Slides>
  <Notes>3</Notes>
  <HiddenSlides>0</HiddenSlides>
  <MMClips>0</MMClips>
  <ScaleCrop>false</ScaleCrop>
  <HeadingPairs>
    <vt:vector size="6" baseType="variant"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5</vt:i4>
      </vt:variant>
    </vt:vector>
  </HeadingPairs>
  <TitlesOfParts>
    <vt:vector size="21" baseType="lpstr">
      <vt:lpstr>Custom Design</vt:lpstr>
      <vt:lpstr>MTN Theme</vt:lpstr>
      <vt:lpstr>1_MTN Theme</vt:lpstr>
      <vt:lpstr>5_MTN CLASSIC THEME</vt:lpstr>
      <vt:lpstr>think-cell Slide</vt:lpstr>
      <vt:lpstr>Worksheet</vt:lpstr>
      <vt:lpstr>QoS DES PERFORMANCES  DE RÉSEAU MTN EN ZAMBIE   Présentation  </vt:lpstr>
      <vt:lpstr>Diapositive 2</vt:lpstr>
      <vt:lpstr>Diapositive 3</vt:lpstr>
      <vt:lpstr>Diapositive 4</vt:lpstr>
      <vt:lpstr>Diapositive 5</vt:lpstr>
      <vt:lpstr>L'IHS-MTN La disponibilité du réseau par jour</vt:lpstr>
      <vt:lpstr>Diapositive 7</vt:lpstr>
      <vt:lpstr>  couverture 2G§3G</vt:lpstr>
      <vt:lpstr> 2G &amp; 3G QUALITÉ</vt:lpstr>
      <vt:lpstr> 2G &amp; 3G CSSR</vt:lpstr>
      <vt:lpstr> TAUX DE SUCCÈS DE LA PASSATION 2G&amp;3G </vt:lpstr>
      <vt:lpstr> BAISSE D’APPEL 2G &amp; débit 3G</vt:lpstr>
      <vt:lpstr>BAISSE D’APPEL 2G &amp; débit 3G</vt:lpstr>
      <vt:lpstr>Diapositive 14</vt:lpstr>
      <vt:lpstr>Merci</vt:lpstr>
    </vt:vector>
  </TitlesOfParts>
  <Company>MTN Zamb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uawei MS Team</dc:creator>
  <cp:lastModifiedBy>POSTE02</cp:lastModifiedBy>
  <cp:revision>9973</cp:revision>
  <dcterms:created xsi:type="dcterms:W3CDTF">2009-04-26T12:28:15Z</dcterms:created>
  <dcterms:modified xsi:type="dcterms:W3CDTF">2016-03-19T01:3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s_pID_725343">
    <vt:lpwstr>(4)GDyGWnH1Ao5JuZW3iPwXX9x5Oszj76RZNAuP8BRYpRDqiGfp+qqjlNkEQz6SblA/V3UY4yro_x000d_
n8iJnRJOrJVp22EDQSHMjaB2eGTpCZQgq2g6JPuU+sY+e17uC1XVb8HQWpmO+p3i4JyeOAlE_x000d_
mx4ZvCc9CNNXra/IZoblVxvcP5yPMYVRyTjYhq9/Xgm094qL09Z4SgTaaPl+d3r+6TZnUoDZ_x000d_
lfX15czI8jEiMUDEZW</vt:lpwstr>
  </property>
  <property fmtid="{D5CDD505-2E9C-101B-9397-08002B2CF9AE}" pid="3" name="_ms_pID_7253431">
    <vt:lpwstr>IkDjgcjAhUTIyvQ4tZdJeVSq1MLoG7jQaMkszUXCRJeTGXLqlhmjgi_x000d_
82NxP3+mPb2vsHXR8DQedS60g9DxqgKJtNC0VmzMQJWL0IzNshw9Gl2mZDDKLg0CB28dd/v3_x000d_
vtof+O20uCA4u8UxmmTTVYQiqSPWaiB38XEgwkvuDmplQEKz9FTcXlR6rlCTwhFRvk1MwTZA_x000d_
KwOX4OfFPSLjhSyxwfwFs4Vn94Nd/YchZuFc</vt:lpwstr>
  </property>
  <property fmtid="{D5CDD505-2E9C-101B-9397-08002B2CF9AE}" pid="4" name="_ms_pID_7253432">
    <vt:lpwstr>YyQqUTGQ9K14u9p+FO51TllcB7Gj922R4m8X_x000d_
rZlLJvZqqqHqn0HbUFXBb3O1/LAWqquMdDlkynp4MtdFrmFZQnhHFqUtg274LKC/WuSB7S3y_x000d_
V1EoS+LLTjdfI6tehSx3L1i26bb8xNIUcdapm2vI75EUibXNiKUIamc9sKh8tDmSueCUxRPV_x000d_
Q1qjI5NirGEI9Get6TnJJh5xVA6uVHMkv6Gbbcfeb3czkEyHkcokY8</vt:lpwstr>
  </property>
  <property fmtid="{D5CDD505-2E9C-101B-9397-08002B2CF9AE}" pid="5" name="_ms_pID_7253433">
    <vt:lpwstr>cOKw3ms/+MAsR4a+Ml_x000d_
wz3c+v2YhKG163jTy7Di1cqAlDliYViZMLmH3sK0pO5dS7WSmZdQN0dY56OwKEmWIOmW6QGs_x000d_
i3gdP+XpbUIMdzxBmsDcjeIYHF8+LS7X+EUzXAn3hgyVvmCrW7Uh7eYzwgPWaKankXjmlyqQ_x000d_
F36ubQH3xRaMBHjXhKIFZFRF2YZod3NG9oC4MJdf3Ln4OTEumng3IQ==</vt:lpwstr>
  </property>
  <property fmtid="{D5CDD505-2E9C-101B-9397-08002B2CF9AE}" pid="6" name="_ms_pID_725343_00">
    <vt:lpwstr>_ms_pID_725343</vt:lpwstr>
  </property>
  <property fmtid="{D5CDD505-2E9C-101B-9397-08002B2CF9AE}" pid="7" name="_ms_pID_7253431_00">
    <vt:lpwstr>_ms_pID_7253431</vt:lpwstr>
  </property>
  <property fmtid="{D5CDD505-2E9C-101B-9397-08002B2CF9AE}" pid="8" name="_ms_pID_7253432_00">
    <vt:lpwstr>_ms_pID_7253432</vt:lpwstr>
  </property>
  <property fmtid="{D5CDD505-2E9C-101B-9397-08002B2CF9AE}" pid="9" name="_ms_pID_7253433_00">
    <vt:lpwstr>_ms_pID_7253433</vt:lpwstr>
  </property>
  <property fmtid="{D5CDD505-2E9C-101B-9397-08002B2CF9AE}" pid="10" name="_ms_pID_7253434">
    <vt:lpwstr>_x000d_ ekZF2NhDyP3qlj/b7kcTKG/Hfz6W1N8T9KTHOH4oeoqqWKpCUyjakDK7/qt2XP6dwn8n1PA0_x000d_ lxd71jnVtAzpe84WLHyjxkNxgNos7PF4EIQObQ2WI7rT4VaD3xxlRtrUobE6Ayq3kObkOQWY_x000d_ hGk0DUcDjRwpo8zrzGWeY4mRLjjnh9jteC1bUOMDQvviFsTmbOU+b/Kz53kx23Xr68kQxB2X_x000d_ 2fQuyQ8f2VQVDJoh</vt:lpwstr>
  </property>
  <property fmtid="{D5CDD505-2E9C-101B-9397-08002B2CF9AE}" pid="11" name="_ms_pID_7253434_00">
    <vt:lpwstr>_ms_pID_7253434</vt:lpwstr>
  </property>
  <property fmtid="{D5CDD505-2E9C-101B-9397-08002B2CF9AE}" pid="12" name="_ms_pID_7253435">
    <vt:lpwstr>4pkK2ZujeGryBV32mr6Hji9631sWE6Ohz9GYZV5UsLztnqFKFXDDLiiA_x000d_ ZL7uVYGu61zaHyMR6Ysk81lHZWuHRZgVjGe7maZ4a7rTnvafRuPncrAVyFZXJww3swU5+B2s_x000d_ 6QvwKpfARejujfmy1nhjIQmClI6lcz7N38KV97VnpVwybHZkXSkFklSnx5uXI7IA19LUft86_x000d_ SPrsPjaDFyDPiAnVmy5txGH5TUHUX9+8zc</vt:lpwstr>
  </property>
  <property fmtid="{D5CDD505-2E9C-101B-9397-08002B2CF9AE}" pid="13" name="_ms_pID_7253435_00">
    <vt:lpwstr>_ms_pID_7253435</vt:lpwstr>
  </property>
  <property fmtid="{D5CDD505-2E9C-101B-9397-08002B2CF9AE}" pid="14" name="_ms_pID_7253436">
    <vt:lpwstr>Pp7MwJgiUbt2K8BX+CZ3169gTEhto/SoYBc0JZ_x000d_ ufNytbcWYMdOKykDgx181ofBmoJDzZniP8QDNzVatA1hgC/kyNzp4dU1CwpJFKW5dD8vxm8F_x000d_ CtcOgi8NuOreMfmIIqxgP/XKvKpiRpzPwlB3s3Pnjh8ObINcr3ynezRnWW3yVm/utvkVnj9o_x000d_ sDt8KyT0kNmjNcQ2P0ByU0WI3VVbaXWFFkF7dO3BdhLkZxgbE6wH</vt:lpwstr>
  </property>
  <property fmtid="{D5CDD505-2E9C-101B-9397-08002B2CF9AE}" pid="15" name="_ms_pID_7253436_00">
    <vt:lpwstr>_ms_pID_7253436</vt:lpwstr>
  </property>
  <property fmtid="{D5CDD505-2E9C-101B-9397-08002B2CF9AE}" pid="16" name="_ms_pID_7253437">
    <vt:lpwstr>4y/jwrscjtRj1qAt6Gcw_x000d_ GPLDHdhF/dLESQMNloP2JC5hL5/nwnxy1GNuhyHWKx2jTmRGbajjog0RvdStQckUR2A+4aZw_x000d_ /zWua0p4Nu8TccAztVCVb2SIF3NXn+Z8arP6Q3PRIhKx+OpztPrAwqhsxI0VWuGt1wU91FjZ_x000d_ uL8lXsrpcGbvpQf17DRSLhNYutU3/swzxOZklxAd53uqN5IWotfXQXoWqTk3qLor2d+PhH</vt:lpwstr>
  </property>
  <property fmtid="{D5CDD505-2E9C-101B-9397-08002B2CF9AE}" pid="17" name="_ms_pID_7253437_00">
    <vt:lpwstr>_ms_pID_7253437</vt:lpwstr>
  </property>
  <property fmtid="{D5CDD505-2E9C-101B-9397-08002B2CF9AE}" pid="18" name="_ms_pID_7253438">
    <vt:lpwstr>4b_x000d_ JJjNyQpVN93NOIboScdhlzon8ije3cHtsxYSZKZlPRrhBY8a/dHNAlxWUVQ2aVIued8GYUa8_x000d_ bzAtyZnljyJyKGoLvobLku70XFionDe3KKFZqvJPzv0THXLOLA0SZUIVLa6l7penGhpQKbDS_x000d_ ihY3LCUxXWPkQOk6R3HJV4mBSr0SgP/RS2bN4VCCK18KN6R1XxOM9mcdEnJZJEUUrH/DWPD7_x000d_ ArQ8Fir4vMdWdR</vt:lpwstr>
  </property>
  <property fmtid="{D5CDD505-2E9C-101B-9397-08002B2CF9AE}" pid="19" name="_ms_pID_7253438_00">
    <vt:lpwstr>_ms_pID_7253438</vt:lpwstr>
  </property>
  <property fmtid="{D5CDD505-2E9C-101B-9397-08002B2CF9AE}" pid="20" name="_ms_pID_7253439">
    <vt:lpwstr>EU5/3SWC48s9VWYK0SdKrzWnLcIvlD+gIxjB1grDfOgU30xpIorrlfwgN6_x000d_ /CufJAsLxJalMP7kQ9LgFXX3JJxjcvSMegpi0jpznmpY1oO5FnGXoQjXPW92N1TjESufvdcE_x000d_ D1GJmCcU9f1U+pG6qc43UzVFrYm6oAgzUYnNpeCQXeaOuAViT2klN16+JSSKoEtmdnZ/eUdv_x000d_ C7nTX8yrL9Y50p/TE+uKbmkE7yYUukGu</vt:lpwstr>
  </property>
  <property fmtid="{D5CDD505-2E9C-101B-9397-08002B2CF9AE}" pid="21" name="_ms_pID_7253439_00">
    <vt:lpwstr>_ms_pID_7253439</vt:lpwstr>
  </property>
  <property fmtid="{D5CDD505-2E9C-101B-9397-08002B2CF9AE}" pid="22" name="_ms_pID_72534310">
    <vt:lpwstr>H12K14eZHvbwjPWcFTXPBaH8omeA7ZGBclqT8Y6c_x000d_ 2pDHH9s7ehDGgMAM+q9KvElILSzZb0OD4gQXcS1Mx5oSa5oRhxq3Bl42pIPnHahtHTARdRJk_x000d_ Fwg5ZP/2wTSuCk0pV/xfDJYQNisxThhRJtV8OSXhTo6lNYbm9DzGpsaI1wNhsqAZ7YSSUvFg_x000d_ Qu000GnOBt0HNkCzTdN1OGJ4wdKrIrkOjU3bdueEdiCQk64cxv</vt:lpwstr>
  </property>
  <property fmtid="{D5CDD505-2E9C-101B-9397-08002B2CF9AE}" pid="23" name="_ms_pID_72534310_00">
    <vt:lpwstr>_ms_pID_72534310</vt:lpwstr>
  </property>
  <property fmtid="{D5CDD505-2E9C-101B-9397-08002B2CF9AE}" pid="24" name="_ms_pID_72534311">
    <vt:lpwstr>infxkfaE8dn6CHYVnz+9Wj_x000d_ 4KQ4t+S8/rK+dXYevmQVZNye1cxuLmKuKf5BrK5a16113maMl7Fczerbh58h03oKIiIcJW93_x000d_ cksUfzK8jl1CyJY1CRWBY0K9SmZww4WabMSwqKV1OlPLnQwt/9t1Qao811jm5C7wgS12AE1k_x000d_ Nusp+3hcy+/iwjI5LxdCbDaWKWc/68qXVdrVY8WEVj27sutY1ZCekrDLMBMa/eh4Z4DE</vt:lpwstr>
  </property>
  <property fmtid="{D5CDD505-2E9C-101B-9397-08002B2CF9AE}" pid="25" name="_ms_pID_72534311_00">
    <vt:lpwstr>_ms_pID_72534311</vt:lpwstr>
  </property>
  <property fmtid="{D5CDD505-2E9C-101B-9397-08002B2CF9AE}" pid="26" name="_ms_pID_72534312">
    <vt:lpwstr>Gy2A_x000d_ 1OwOGHKvhzg9NB9RV0VEKvy/CRMd32AXh0vOPGnuclR8q40UKrfcTrSHNrm8z9bnnuuk3HOS_x000d_ 1nlRNaFFBgDe5IYGSiZRROTZMf3CQqJnciRJ2I3YfrNV+2uCz4vG6j0Y8EwuKcu6</vt:lpwstr>
  </property>
  <property fmtid="{D5CDD505-2E9C-101B-9397-08002B2CF9AE}" pid="27" name="_ms_pID_72534312_00">
    <vt:lpwstr>_ms_pID_72534312</vt:lpwstr>
  </property>
  <property fmtid="{D5CDD505-2E9C-101B-9397-08002B2CF9AE}" pid="28" name="_ms_pID_72534313">
    <vt:lpwstr>LaOISivDSgNyQRyFOfJtb2dmK+A8NoWdX+P9zU9DM/fN4Vnhq4uppCN+Yx0=</vt:lpwstr>
  </property>
  <property fmtid="{D5CDD505-2E9C-101B-9397-08002B2CF9AE}" pid="29" name="_ms_pID_72534313_00">
    <vt:lpwstr>_ms_pID_72534313</vt:lpwstr>
  </property>
  <property fmtid="{D5CDD505-2E9C-101B-9397-08002B2CF9AE}" pid="30" name="_ms_pID_72534314">
    <vt:lpwstr>k2lApIZS9NI=</vt:lpwstr>
  </property>
  <property fmtid="{D5CDD505-2E9C-101B-9397-08002B2CF9AE}" pid="31" name="_ms_pID_72534314_00">
    <vt:lpwstr>_ms_pID_72534314</vt:lpwstr>
  </property>
  <property fmtid="{D5CDD505-2E9C-101B-9397-08002B2CF9AE}" pid="32" name="_new_ms_pID_72543">
    <vt:lpwstr>(3)1du592z8a6qrm4Do6vcO1k4hE6399zvsytJkweF2GgL2dR2Vb5ja23IgSwJfix43mehHKrR/
HLS8GW5YNXMpm5j6kjG2MpsRbdEdLh5RV6U7VEwAZRl0qcCndhWDl1yREQjjVLc/MOTg0Vjw
uus9SxWykXC+qQbVYnbZVZW9d04NmEhm6p+qKEarvkwBBNAPqmQ+loGriu8o8vxD6mxcqxRz
Glzn2mzk0aWvcULdGI</vt:lpwstr>
  </property>
  <property fmtid="{D5CDD505-2E9C-101B-9397-08002B2CF9AE}" pid="33" name="_new_ms_pID_725431">
    <vt:lpwstr>dsOXvZ8FsfHClGUfgHjrToIiDXb2ccQuJppB3/jWjKZTm2Acz6PYv0
yp32JgFaJ0H3TigIzz2S/TF8aRZhgAX2x+U0/WzLz8c8Uk1YfvX0ELY0MHJZfx17u8mPDO1m
1WkPTKHWhet4A1W3uQ8iQyWmA+c+RbKwsNoIUISgs5t75ulEWqdmMmT1vpLHL50hlsxBo0JY
MucSIT9nASLEYXsPaEelQLSgUEXU4Dpdg9Vk</vt:lpwstr>
  </property>
  <property fmtid="{D5CDD505-2E9C-101B-9397-08002B2CF9AE}" pid="34" name="_new_ms_pID_725432">
    <vt:lpwstr>DfyFq89ZbNK3R14YG99uxrKvGaFEB89zNsxu
QJ1thG3EV8lNqDXwDuGQ6C1B2eo/HaAXZWmqfXkimSo7Wcrv4GiF2EWroIXj1+oKjibJmFy7
nJ2qUP4gdnZjX37Y2matbY75XSWAs1D4aDFbOqMyOK0Y1CWw3PuFrT2wnoHqEzwV</vt:lpwstr>
  </property>
  <property fmtid="{D5CDD505-2E9C-101B-9397-08002B2CF9AE}" pid="35" name="_new_ms_pID_725433">
    <vt:lpwstr>Vv</vt:lpwstr>
  </property>
  <property fmtid="{D5CDD505-2E9C-101B-9397-08002B2CF9AE}" pid="36" name="_readonly">
    <vt:lpwstr/>
  </property>
  <property fmtid="{D5CDD505-2E9C-101B-9397-08002B2CF9AE}" pid="37" name="_change">
    <vt:lpwstr/>
  </property>
  <property fmtid="{D5CDD505-2E9C-101B-9397-08002B2CF9AE}" pid="38" name="_full-control">
    <vt:lpwstr/>
  </property>
  <property fmtid="{D5CDD505-2E9C-101B-9397-08002B2CF9AE}" pid="39" name="sflag">
    <vt:lpwstr>1453905108</vt:lpwstr>
  </property>
  <property fmtid="{D5CDD505-2E9C-101B-9397-08002B2CF9AE}" pid="40" name="ContentTypeId">
    <vt:lpwstr>0x01010051F0CB225BCB3B43BBF518EAC6349114</vt:lpwstr>
  </property>
</Properties>
</file>